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4413" r:id="rId1"/>
  </p:sldMasterIdLst>
  <p:notesMasterIdLst>
    <p:notesMasterId r:id="rId7"/>
  </p:notesMasterIdLst>
  <p:handoutMasterIdLst>
    <p:handoutMasterId r:id="rId8"/>
  </p:handoutMasterIdLst>
  <p:sldIdLst>
    <p:sldId id="256" r:id="rId2"/>
    <p:sldId id="1020" r:id="rId3"/>
    <p:sldId id="1051" r:id="rId4"/>
    <p:sldId id="705" r:id="rId5"/>
    <p:sldId id="1050" r:id="rId6"/>
  </p:sldIdLst>
  <p:sldSz cx="9906000" cy="6858000" type="A4"/>
  <p:notesSz cx="6797675" cy="9926638"/>
  <p:custDataLst>
    <p:tags r:id="rId9"/>
  </p:custDataLst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ore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9BCB"/>
    <a:srgbClr val="638FC5"/>
    <a:srgbClr val="82A5D0"/>
    <a:srgbClr val="D3D3D3"/>
    <a:srgbClr val="C5D5E9"/>
    <a:srgbClr val="CBCBCB"/>
    <a:srgbClr val="B7CADF"/>
    <a:srgbClr val="304E6E"/>
    <a:srgbClr val="FF8B8B"/>
    <a:srgbClr val="BED3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50000" autoAdjust="0"/>
  </p:normalViewPr>
  <p:slideViewPr>
    <p:cSldViewPr>
      <p:cViewPr varScale="1">
        <p:scale>
          <a:sx n="101" d="100"/>
          <a:sy n="101" d="100"/>
        </p:scale>
        <p:origin x="120" y="28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-3252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48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2" tIns="45805" rIns="91612" bIns="45805" numCol="1" anchor="t" anchorCtr="0" compatLnSpc="1">
            <a:prstTxWarp prst="textNoShape">
              <a:avLst/>
            </a:prstTxWarp>
          </a:bodyPr>
          <a:lstStyle>
            <a:lvl1pPr algn="l" defTabSz="916980" eaLnBrk="0" hangingPunct="0">
              <a:defRPr sz="1200">
                <a:latin typeface="Times New Roman" charset="0"/>
                <a:ea typeface="+mn-ea"/>
              </a:defRPr>
            </a:lvl1pPr>
          </a:lstStyle>
          <a:p>
            <a:pPr>
              <a:defRPr/>
            </a:pPr>
            <a:r>
              <a:rPr lang="it-IT"/>
              <a:t>BOZZA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0"/>
            <a:ext cx="29448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2" tIns="45805" rIns="91612" bIns="45805" numCol="1" anchor="t" anchorCtr="0" compatLnSpc="1">
            <a:prstTxWarp prst="textNoShape">
              <a:avLst/>
            </a:prstTxWarp>
          </a:bodyPr>
          <a:lstStyle>
            <a:lvl1pPr algn="r" defTabSz="916980" eaLnBrk="0" hangingPunct="0">
              <a:defRPr sz="1200">
                <a:latin typeface="Times New Roman" charset="0"/>
                <a:ea typeface="+mn-ea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2450"/>
            <a:ext cx="2944813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2" tIns="45805" rIns="91612" bIns="45805" numCol="1" anchor="b" anchorCtr="0" compatLnSpc="1">
            <a:prstTxWarp prst="textNoShape">
              <a:avLst/>
            </a:prstTxWarp>
          </a:bodyPr>
          <a:lstStyle>
            <a:lvl1pPr algn="l" defTabSz="916980" eaLnBrk="0" hangingPunct="0">
              <a:defRPr sz="1200">
                <a:latin typeface="Times New Roman" charset="0"/>
                <a:ea typeface="+mn-ea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42450"/>
            <a:ext cx="2944812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2" tIns="45805" rIns="91612" bIns="45805" numCol="1" anchor="b" anchorCtr="0" compatLnSpc="1">
            <a:prstTxWarp prst="textNoShape">
              <a:avLst/>
            </a:prstTxWarp>
          </a:bodyPr>
          <a:lstStyle>
            <a:lvl1pPr algn="r" defTabSz="915877" eaLnBrk="0" hangingPunct="0">
              <a:defRPr sz="1200">
                <a:ea typeface="ＭＳ Ｐゴシック" pitchFamily="1" charset="-128"/>
              </a:defRPr>
            </a:lvl1pPr>
          </a:lstStyle>
          <a:p>
            <a:pPr>
              <a:defRPr/>
            </a:pPr>
            <a:fld id="{B6DA8A2C-CC89-4D94-BA20-820D8824E11E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9537534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98276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0"/>
        <a:cs typeface="Arial" charset="0"/>
      </a:defRPr>
    </a:lvl1pPr>
    <a:lvl2pPr marL="4572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2pPr>
    <a:lvl3pPr marL="9144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3pPr>
    <a:lvl4pPr marL="13716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4pPr>
    <a:lvl5pPr marL="18288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Arial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1200" y="746125"/>
            <a:ext cx="5375275" cy="3722688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38" y="4716463"/>
            <a:ext cx="5435600" cy="44640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1485" tIns="45743" rIns="91485" bIns="45743"/>
          <a:lstStyle/>
          <a:p>
            <a:pPr eaLnBrk="1" hangingPunct="1"/>
            <a:endParaRPr lang="en-GB" dirty="0">
              <a:latin typeface="Times New Roman" pitchFamily="18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9873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Grp="1" noChangeArrowheads="1"/>
          </p:cNvSpPr>
          <p:nvPr>
            <p:ph idx="1"/>
          </p:nvPr>
        </p:nvSpPr>
        <p:spPr bwMode="auto">
          <a:xfrm>
            <a:off x="741231" y="1412875"/>
            <a:ext cx="84201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100000"/>
              </a:lnSpc>
              <a:buClrTx/>
              <a:defRPr/>
            </a:lvl1pPr>
            <a:lvl2pPr>
              <a:lnSpc>
                <a:spcPct val="100000"/>
              </a:lnSpc>
              <a:buClrTx/>
              <a:defRPr/>
            </a:lvl2pPr>
            <a:lvl3pPr>
              <a:lnSpc>
                <a:spcPct val="100000"/>
              </a:lnSpc>
              <a:buClrTx/>
              <a:defRPr/>
            </a:lvl3pPr>
            <a:lvl4pPr>
              <a:lnSpc>
                <a:spcPct val="100000"/>
              </a:lnSpc>
              <a:buClrTx/>
              <a:defRPr/>
            </a:lvl4pPr>
            <a:lvl5pPr>
              <a:lnSpc>
                <a:spcPct val="100000"/>
              </a:lnSpc>
              <a:buClrTx/>
              <a:defRPr/>
            </a:lvl5pPr>
          </a:lstStyle>
          <a:p>
            <a:pPr lvl="0"/>
            <a:r>
              <a:rPr lang="en-GB" altLang="it-IT" noProof="0" dirty="0"/>
              <a:t>Click to edit Master text styles</a:t>
            </a:r>
          </a:p>
          <a:p>
            <a:pPr lvl="1"/>
            <a:r>
              <a:rPr lang="en-GB" altLang="it-IT" noProof="0" dirty="0"/>
              <a:t>Second Level</a:t>
            </a:r>
          </a:p>
          <a:p>
            <a:pPr lvl="2"/>
            <a:r>
              <a:rPr lang="en-GB" altLang="it-IT" noProof="0" dirty="0"/>
              <a:t>Third Level</a:t>
            </a:r>
          </a:p>
          <a:p>
            <a:pPr lvl="3"/>
            <a:r>
              <a:rPr lang="en-GB" altLang="it-IT" noProof="0" dirty="0"/>
              <a:t>Fourth Level</a:t>
            </a:r>
          </a:p>
          <a:p>
            <a:pPr lvl="4"/>
            <a:r>
              <a:rPr lang="en-GB" altLang="it-IT" noProof="0" dirty="0"/>
              <a:t>Fifth Level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3633" y="469226"/>
            <a:ext cx="848976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GB" altLang="it-IT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8041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tangolo 10"/>
          <p:cNvSpPr/>
          <p:nvPr userDrawn="1"/>
        </p:nvSpPr>
        <p:spPr bwMode="auto">
          <a:xfrm>
            <a:off x="0" y="1"/>
            <a:ext cx="9906000" cy="119007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2075" tIns="46038" rIns="92075" bIns="4603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6" name="Rettangolo 15"/>
          <p:cNvSpPr/>
          <p:nvPr userDrawn="1"/>
        </p:nvSpPr>
        <p:spPr bwMode="auto">
          <a:xfrm>
            <a:off x="9633520" y="6673416"/>
            <a:ext cx="272480" cy="17221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2075" tIns="46038" rIns="92075" bIns="4603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sz="3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Titolo 1"/>
          <p:cNvSpPr>
            <a:spLocks noGrp="1"/>
          </p:cNvSpPr>
          <p:nvPr>
            <p:ph type="ctrTitle"/>
          </p:nvPr>
        </p:nvSpPr>
        <p:spPr>
          <a:xfrm>
            <a:off x="507085" y="2402248"/>
            <a:ext cx="6552728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defRPr sz="2800" b="1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</a:lstStyle>
          <a:p>
            <a:r>
              <a:rPr lang="it-IT" dirty="0"/>
              <a:t>Fare clic per modificare lo stile del titolo</a:t>
            </a:r>
          </a:p>
        </p:txBody>
      </p:sp>
      <p:sp>
        <p:nvSpPr>
          <p:cNvPr id="22" name="Segnaposto testo 6"/>
          <p:cNvSpPr>
            <a:spLocks noGrp="1"/>
          </p:cNvSpPr>
          <p:nvPr>
            <p:ph type="body" sz="quarter" idx="12" hasCustomPrompt="1"/>
          </p:nvPr>
        </p:nvSpPr>
        <p:spPr>
          <a:xfrm>
            <a:off x="507085" y="3422827"/>
            <a:ext cx="6552728" cy="38048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buNone/>
              <a:defRPr/>
            </a:lvl2pPr>
            <a:lvl3pPr>
              <a:spcBef>
                <a:spcPts val="0"/>
              </a:spcBef>
              <a:buNone/>
              <a:defRPr/>
            </a:lvl3pPr>
            <a:lvl4pPr>
              <a:spcBef>
                <a:spcPts val="0"/>
              </a:spcBef>
              <a:buNone/>
              <a:defRPr/>
            </a:lvl4pPr>
            <a:lvl5pPr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it-IT" dirty="0"/>
          </a:p>
        </p:txBody>
      </p:sp>
      <p:sp>
        <p:nvSpPr>
          <p:cNvPr id="23" name="Segnaposto testo 6"/>
          <p:cNvSpPr>
            <a:spLocks noGrp="1"/>
          </p:cNvSpPr>
          <p:nvPr>
            <p:ph type="body" sz="quarter" idx="13" hasCustomPrompt="1"/>
          </p:nvPr>
        </p:nvSpPr>
        <p:spPr>
          <a:xfrm>
            <a:off x="507085" y="5013176"/>
            <a:ext cx="1925635" cy="288147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rgbClr val="000000"/>
                </a:solidFill>
              </a:defRPr>
            </a:lvl1pPr>
            <a:lvl2pPr>
              <a:spcBef>
                <a:spcPts val="0"/>
              </a:spcBef>
              <a:buNone/>
              <a:defRPr/>
            </a:lvl2pPr>
            <a:lvl3pPr>
              <a:spcBef>
                <a:spcPts val="0"/>
              </a:spcBef>
              <a:buNone/>
              <a:defRPr/>
            </a:lvl3pPr>
            <a:lvl4pPr>
              <a:spcBef>
                <a:spcPts val="0"/>
              </a:spcBef>
              <a:buNone/>
              <a:defRPr/>
            </a:lvl4pPr>
            <a:lvl5pPr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 err="1"/>
              <a:t>Città</a:t>
            </a:r>
            <a:r>
              <a:rPr lang="en-US" dirty="0"/>
              <a:t>, </a:t>
            </a:r>
            <a:r>
              <a:rPr lang="en-US" dirty="0" err="1"/>
              <a:t>gg</a:t>
            </a:r>
            <a:r>
              <a:rPr lang="en-US" dirty="0"/>
              <a:t> mm </a:t>
            </a:r>
            <a:r>
              <a:rPr lang="en-US" dirty="0" err="1"/>
              <a:t>aa</a:t>
            </a:r>
            <a:endParaRPr lang="it-IT" dirty="0"/>
          </a:p>
        </p:txBody>
      </p:sp>
      <p:sp>
        <p:nvSpPr>
          <p:cNvPr id="25" name="Segnaposto testo 6"/>
          <p:cNvSpPr>
            <a:spLocks noGrp="1"/>
          </p:cNvSpPr>
          <p:nvPr>
            <p:ph type="body" sz="quarter" idx="14" hasCustomPrompt="1"/>
          </p:nvPr>
        </p:nvSpPr>
        <p:spPr>
          <a:xfrm>
            <a:off x="4238620" y="6444059"/>
            <a:ext cx="1428760" cy="211203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algn="ctr">
              <a:spcBef>
                <a:spcPts val="0"/>
              </a:spcBef>
              <a:buNone/>
              <a:defRPr sz="900" i="1" baseline="0"/>
            </a:lvl1pPr>
            <a:lvl2pPr>
              <a:spcBef>
                <a:spcPts val="0"/>
              </a:spcBef>
              <a:buNone/>
              <a:defRPr/>
            </a:lvl2pPr>
            <a:lvl3pPr>
              <a:spcBef>
                <a:spcPts val="0"/>
              </a:spcBef>
              <a:buNone/>
              <a:defRPr/>
            </a:lvl3pPr>
            <a:lvl4pPr>
              <a:spcBef>
                <a:spcPts val="0"/>
              </a:spcBef>
              <a:buNone/>
              <a:defRPr/>
            </a:lvl4pPr>
            <a:lvl5pPr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 dirty="0"/>
              <a:t>CONFIDENTIAL - BOZZA</a:t>
            </a:r>
            <a:endParaRPr lang="it-IT" dirty="0"/>
          </a:p>
        </p:txBody>
      </p:sp>
      <p:cxnSp>
        <p:nvCxnSpPr>
          <p:cNvPr id="15" name="Connettore 1 14"/>
          <p:cNvCxnSpPr>
            <a:cxnSpLocks/>
          </p:cNvCxnSpPr>
          <p:nvPr userDrawn="1"/>
        </p:nvCxnSpPr>
        <p:spPr bwMode="auto">
          <a:xfrm>
            <a:off x="507085" y="3330028"/>
            <a:ext cx="7369975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pic>
        <p:nvPicPr>
          <p:cNvPr id="71682" name="Picture 2" descr="Risultati immagini per logo ater roma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697416" y="44624"/>
            <a:ext cx="767484" cy="884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11">
            <a:extLst>
              <a:ext uri="{FF2B5EF4-FFF2-40B4-BE49-F238E27FC236}">
                <a16:creationId xmlns="" xmlns:a16="http://schemas.microsoft.com/office/drawing/2014/main" id="{67A80CFE-B070-4EE8-8326-465641B71C7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7834" y="116632"/>
            <a:ext cx="2999492" cy="8474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91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3500" y="469900"/>
            <a:ext cx="84899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it-IT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56036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9"/>
          <p:cNvSpPr>
            <a:spLocks noChangeShapeType="1"/>
          </p:cNvSpPr>
          <p:nvPr userDrawn="1"/>
        </p:nvSpPr>
        <p:spPr bwMode="auto">
          <a:xfrm>
            <a:off x="63500" y="900113"/>
            <a:ext cx="9747250" cy="0"/>
          </a:xfrm>
          <a:prstGeom prst="line">
            <a:avLst/>
          </a:prstGeom>
          <a:noFill/>
          <a:ln w="19050">
            <a:solidFill>
              <a:srgbClr val="182F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2"/>
          <p:cNvSpPr txBox="1">
            <a:spLocks/>
          </p:cNvSpPr>
          <p:nvPr userDrawn="1"/>
        </p:nvSpPr>
        <p:spPr bwMode="auto">
          <a:xfrm>
            <a:off x="9671050" y="6689725"/>
            <a:ext cx="139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54A7C003-8D24-42A3-83C7-FDF177EFF6CE}" type="slidenum">
              <a:rPr lang="it-IT" altLang="it-IT" sz="800" smtClean="0">
                <a:solidFill>
                  <a:schemeClr val="bg1"/>
                </a:solidFill>
              </a:rPr>
              <a:pPr algn="r" eaLnBrk="1" hangingPunct="1">
                <a:defRPr/>
              </a:pPr>
              <a:t>‹N›</a:t>
            </a:fld>
            <a:endParaRPr lang="it-IT" altLang="it-IT" sz="800">
              <a:solidFill>
                <a:schemeClr val="bg1"/>
              </a:solidFill>
            </a:endParaRPr>
          </a:p>
        </p:txBody>
      </p:sp>
      <p:sp>
        <p:nvSpPr>
          <p:cNvPr id="5" name="Rettangolo 4"/>
          <p:cNvSpPr>
            <a:spLocks noChangeArrowheads="1"/>
          </p:cNvSpPr>
          <p:nvPr userDrawn="1"/>
        </p:nvSpPr>
        <p:spPr bwMode="auto">
          <a:xfrm>
            <a:off x="57150" y="836613"/>
            <a:ext cx="9764713" cy="1285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/>
            </a:solidFill>
            <a:round/>
            <a:headEnd type="none" w="sm" len="sm"/>
            <a:tailEnd type="none" w="sm" len="sm"/>
          </a:ln>
        </p:spPr>
        <p:txBody>
          <a:bodyPr wrap="none" lIns="92075" tIns="46038" rIns="92075" bIns="46038"/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it-IT" altLang="it-IT" sz="360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106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Line 9"/>
          <p:cNvSpPr>
            <a:spLocks noChangeShapeType="1"/>
          </p:cNvSpPr>
          <p:nvPr userDrawn="1"/>
        </p:nvSpPr>
        <p:spPr bwMode="auto">
          <a:xfrm>
            <a:off x="63500" y="900113"/>
            <a:ext cx="9747250" cy="0"/>
          </a:xfrm>
          <a:prstGeom prst="line">
            <a:avLst/>
          </a:prstGeom>
          <a:noFill/>
          <a:ln w="19050">
            <a:solidFill>
              <a:srgbClr val="182F7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1363" y="1412875"/>
            <a:ext cx="84201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/>
              <a:t>Click to edit Master text styles</a:t>
            </a:r>
          </a:p>
          <a:p>
            <a:pPr lvl="1"/>
            <a:r>
              <a:rPr lang="en-GB" altLang="it-IT"/>
              <a:t>Second Level</a:t>
            </a:r>
          </a:p>
          <a:p>
            <a:pPr lvl="2"/>
            <a:r>
              <a:rPr lang="en-GB" altLang="it-IT"/>
              <a:t>Third Level</a:t>
            </a:r>
          </a:p>
          <a:p>
            <a:pPr lvl="3"/>
            <a:r>
              <a:rPr lang="en-GB" altLang="it-IT"/>
              <a:t>Fourth Level</a:t>
            </a:r>
          </a:p>
          <a:p>
            <a:pPr lvl="4"/>
            <a:r>
              <a:rPr lang="en-GB" altLang="it-IT"/>
              <a:t>Fifth Level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3500" y="469900"/>
            <a:ext cx="84899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it-IT" dirty="0"/>
              <a:t>Click to edit Master title style</a:t>
            </a:r>
          </a:p>
        </p:txBody>
      </p:sp>
      <p:sp>
        <p:nvSpPr>
          <p:cNvPr id="1030" name="Segnaposto numero diapositiva 2"/>
          <p:cNvSpPr txBox="1">
            <a:spLocks/>
          </p:cNvSpPr>
          <p:nvPr userDrawn="1"/>
        </p:nvSpPr>
        <p:spPr bwMode="auto">
          <a:xfrm>
            <a:off x="9671050" y="6689725"/>
            <a:ext cx="1397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2783F10-4188-4C3D-A44B-561120F552B5}" type="slidenum">
              <a:rPr lang="it-IT" altLang="it-IT" sz="800" smtClean="0">
                <a:solidFill>
                  <a:srgbClr val="000000"/>
                </a:solidFill>
              </a:rPr>
              <a:pPr algn="r" eaLnBrk="1" hangingPunct="1">
                <a:defRPr/>
              </a:pPr>
              <a:t>‹N›</a:t>
            </a:fld>
            <a:endParaRPr lang="it-IT" altLang="it-IT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0394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4" r:id="rId1"/>
    <p:sldLayoutId id="2147484415" r:id="rId2"/>
    <p:sldLayoutId id="2147484416" r:id="rId3"/>
    <p:sldLayoutId id="2147484417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GB" sz="2800" b="1" dirty="0">
          <a:solidFill>
            <a:schemeClr val="tx2">
              <a:lumMod val="50000"/>
            </a:schemeClr>
          </a:solidFill>
          <a:latin typeface="+mj-lt"/>
          <a:ea typeface="MS PGothic" pitchFamily="34" charset="-128"/>
          <a:cs typeface="Times New Roman" pitchFamily="18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336699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ea typeface="MS PGothic" pitchFamily="34" charset="-128"/>
          <a:cs typeface="Times New Roman" panose="02020603050405020304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185738" indent="-185738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Arial" charset="0"/>
          <a:ea typeface="+mn-ea"/>
          <a:cs typeface="+mn-cs"/>
        </a:defRPr>
      </a:lvl1pPr>
      <a:lvl2pPr marL="357188" indent="-1698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Arial" charset="0"/>
          <a:ea typeface="+mn-ea"/>
        </a:defRPr>
      </a:lvl2pPr>
      <a:lvl3pPr marL="542925" indent="-1841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."/>
        <a:defRPr sz="1600">
          <a:solidFill>
            <a:schemeClr val="tx1"/>
          </a:solidFill>
          <a:latin typeface="Arial" charset="0"/>
          <a:ea typeface="+mn-ea"/>
        </a:defRPr>
      </a:lvl3pPr>
      <a:lvl4pPr marL="715963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Arial" charset="0"/>
          <a:ea typeface="+mn-ea"/>
        </a:defRPr>
      </a:lvl4pPr>
      <a:lvl5pPr marL="901700" indent="-1841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."/>
        <a:defRPr sz="1600">
          <a:solidFill>
            <a:schemeClr val="tx1"/>
          </a:solidFill>
          <a:latin typeface="Arial" charset="0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="" xmlns:a16="http://schemas.microsoft.com/office/drawing/2014/main" id="{696BC46B-18B5-42A4-ACEB-22F0C34F3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1328" y="2402248"/>
            <a:ext cx="8502199" cy="800219"/>
          </a:xfrm>
        </p:spPr>
        <p:txBody>
          <a:bodyPr/>
          <a:lstStyle/>
          <a:p>
            <a:r>
              <a:rPr lang="it-IT" dirty="0" smtClean="0"/>
              <a:t>Convenzione INVITALIA – ATER Roma: </a:t>
            </a:r>
            <a:br>
              <a:rPr lang="it-IT" dirty="0" smtClean="0"/>
            </a:br>
            <a:r>
              <a:rPr lang="it-IT" sz="2400" dirty="0" smtClean="0"/>
              <a:t>attivazione di </a:t>
            </a:r>
            <a:r>
              <a:rPr lang="it-IT" sz="2400" dirty="0" err="1" smtClean="0"/>
              <a:t>Invitalia</a:t>
            </a:r>
            <a:r>
              <a:rPr lang="it-IT" sz="2400" dirty="0" smtClean="0"/>
              <a:t> come centrale di Committenza</a:t>
            </a:r>
            <a:endParaRPr lang="it-IT" sz="2400" dirty="0"/>
          </a:p>
        </p:txBody>
      </p:sp>
      <p:sp>
        <p:nvSpPr>
          <p:cNvPr id="4" name="Segnaposto testo 3">
            <a:extLst>
              <a:ext uri="{FF2B5EF4-FFF2-40B4-BE49-F238E27FC236}">
                <a16:creationId xmlns="" xmlns:a16="http://schemas.microsoft.com/office/drawing/2014/main" id="{C1F890A4-B78C-4EEB-B88B-28F383171A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1329" y="3367072"/>
            <a:ext cx="7398243" cy="811367"/>
          </a:xfrm>
        </p:spPr>
        <p:txBody>
          <a:bodyPr/>
          <a:lstStyle/>
          <a:p>
            <a:r>
              <a:rPr lang="it-IT" sz="2400" b="1" dirty="0"/>
              <a:t>Una risposta concreta </a:t>
            </a:r>
            <a:r>
              <a:rPr lang="it-IT" sz="2400" b="1" dirty="0" smtClean="0"/>
              <a:t>all’esigenza di trasparenza, efficienza e velocità di esecuzione</a:t>
            </a:r>
            <a:endParaRPr lang="it-IT" sz="2400" b="1" dirty="0"/>
          </a:p>
        </p:txBody>
      </p:sp>
      <p:sp>
        <p:nvSpPr>
          <p:cNvPr id="5" name="Segnaposto testo 4">
            <a:extLst>
              <a:ext uri="{FF2B5EF4-FFF2-40B4-BE49-F238E27FC236}">
                <a16:creationId xmlns="" xmlns:a16="http://schemas.microsoft.com/office/drawing/2014/main" id="{2726B6D9-2D23-4390-9F90-61C47B87E48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7085" y="5013176"/>
            <a:ext cx="2374213" cy="503590"/>
          </a:xfrm>
        </p:spPr>
        <p:txBody>
          <a:bodyPr/>
          <a:lstStyle/>
          <a:p>
            <a:r>
              <a:rPr lang="it-IT" dirty="0"/>
              <a:t>Roma, </a:t>
            </a:r>
            <a:r>
              <a:rPr lang="it-IT" dirty="0" smtClean="0"/>
              <a:t>26 settembre 2019</a:t>
            </a:r>
            <a:endParaRPr lang="it-IT" dirty="0"/>
          </a:p>
        </p:txBody>
      </p:sp>
      <p:pic>
        <p:nvPicPr>
          <p:cNvPr id="26316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29194" y="142852"/>
            <a:ext cx="1188000" cy="748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7" name="Rettangolo 3186">
            <a:extLst>
              <a:ext uri="{FF2B5EF4-FFF2-40B4-BE49-F238E27FC236}">
                <a16:creationId xmlns="" xmlns:a16="http://schemas.microsoft.com/office/drawing/2014/main" id="{D678E25C-0151-477B-980D-AE515CF93624}"/>
              </a:ext>
            </a:extLst>
          </p:cNvPr>
          <p:cNvSpPr/>
          <p:nvPr/>
        </p:nvSpPr>
        <p:spPr bwMode="auto">
          <a:xfrm>
            <a:off x="5278839" y="1634977"/>
            <a:ext cx="1190541" cy="36527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  <a:defRPr/>
            </a:pPr>
            <a:endParaRPr lang="it-IT" sz="14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189" name="Tabella 3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6444368"/>
              </p:ext>
            </p:extLst>
          </p:nvPr>
        </p:nvGraphicFramePr>
        <p:xfrm>
          <a:off x="4166430" y="5453502"/>
          <a:ext cx="2313485" cy="5215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6863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48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21590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it-IT" sz="1100" b="1" u="none" strike="noStrike" dirty="0">
                          <a:effectLst/>
                        </a:rPr>
                        <a:t>Frazionamento alloggi ripresi in consegna tramite triennio 2019-2021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 smtClean="0">
                          <a:effectLst/>
                        </a:rPr>
                        <a:t>108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190" name="Ovale 3189">
            <a:extLst>
              <a:ext uri="{FF2B5EF4-FFF2-40B4-BE49-F238E27FC236}">
                <a16:creationId xmlns="" xmlns:a16="http://schemas.microsoft.com/office/drawing/2014/main" id="{E76C19F7-1391-4248-96CE-C159D3311060}"/>
              </a:ext>
            </a:extLst>
          </p:cNvPr>
          <p:cNvSpPr/>
          <p:nvPr/>
        </p:nvSpPr>
        <p:spPr bwMode="auto">
          <a:xfrm>
            <a:off x="4016896" y="5360883"/>
            <a:ext cx="218506" cy="21737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</a:pPr>
            <a:r>
              <a:rPr lang="it-IT" sz="1200" b="1" dirty="0" smtClean="0">
                <a:solidFill>
                  <a:schemeClr val="bg1"/>
                </a:solidFill>
                <a:latin typeface="Arial"/>
              </a:rPr>
              <a:t>B</a:t>
            </a:r>
            <a:endParaRPr lang="it-IT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3050" name="Rettangolo 3049">
            <a:extLst>
              <a:ext uri="{FF2B5EF4-FFF2-40B4-BE49-F238E27FC236}">
                <a16:creationId xmlns="" xmlns:a16="http://schemas.microsoft.com/office/drawing/2014/main" id="{D678E25C-0151-477B-980D-AE515CF93624}"/>
              </a:ext>
            </a:extLst>
          </p:cNvPr>
          <p:cNvSpPr/>
          <p:nvPr/>
        </p:nvSpPr>
        <p:spPr bwMode="auto">
          <a:xfrm>
            <a:off x="5278839" y="1039664"/>
            <a:ext cx="1190541" cy="56815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  <a:defRPr/>
            </a:pPr>
            <a:endParaRPr lang="it-IT" sz="1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51" name="Ovale 3050">
            <a:extLst>
              <a:ext uri="{FF2B5EF4-FFF2-40B4-BE49-F238E27FC236}">
                <a16:creationId xmlns="" xmlns:a16="http://schemas.microsoft.com/office/drawing/2014/main" id="{E76C19F7-1391-4248-96CE-C159D3311060}"/>
              </a:ext>
            </a:extLst>
          </p:cNvPr>
          <p:cNvSpPr/>
          <p:nvPr/>
        </p:nvSpPr>
        <p:spPr bwMode="auto">
          <a:xfrm>
            <a:off x="5167313" y="936801"/>
            <a:ext cx="218506" cy="21737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</a:pPr>
            <a:r>
              <a:rPr lang="it-IT" sz="1200" b="1" dirty="0" smtClean="0">
                <a:solidFill>
                  <a:schemeClr val="bg1"/>
                </a:solidFill>
                <a:latin typeface="Arial"/>
              </a:rPr>
              <a:t>A</a:t>
            </a:r>
            <a:endParaRPr lang="it-IT" sz="1200" b="1" dirty="0">
              <a:solidFill>
                <a:schemeClr val="bg1"/>
              </a:solidFill>
              <a:latin typeface="Arial"/>
            </a:endParaRPr>
          </a:p>
        </p:txBody>
      </p:sp>
      <p:graphicFrame>
        <p:nvGraphicFramePr>
          <p:cNvPr id="3052" name="Tabella 30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0919441"/>
              </p:ext>
            </p:extLst>
          </p:nvPr>
        </p:nvGraphicFramePr>
        <p:xfrm>
          <a:off x="4151190" y="4731629"/>
          <a:ext cx="2328725" cy="5215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38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485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21590">
                <a:tc>
                  <a:txBody>
                    <a:bodyPr/>
                    <a:lstStyle/>
                    <a:p>
                      <a:pPr marL="92075" indent="0" algn="l" fontAlgn="ctr"/>
                      <a:r>
                        <a:rPr lang="it-IT" sz="1100" b="1" u="none" strike="noStrike" dirty="0" err="1" smtClean="0">
                          <a:effectLst/>
                        </a:rPr>
                        <a:t>Densificazione</a:t>
                      </a:r>
                      <a:r>
                        <a:rPr lang="it-IT" sz="1100" b="1" u="none" strike="noStrike" baseline="0" dirty="0" smtClean="0">
                          <a:effectLst/>
                        </a:rPr>
                        <a:t> e completamento scheletri</a:t>
                      </a:r>
                      <a:endParaRPr lang="it-IT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 dirty="0" smtClean="0">
                          <a:effectLst/>
                        </a:rPr>
                        <a:t>600</a:t>
                      </a:r>
                      <a:endParaRPr lang="it-I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053" name="Ovale 3052">
            <a:extLst>
              <a:ext uri="{FF2B5EF4-FFF2-40B4-BE49-F238E27FC236}">
                <a16:creationId xmlns="" xmlns:a16="http://schemas.microsoft.com/office/drawing/2014/main" id="{E76C19F7-1391-4248-96CE-C159D3311060}"/>
              </a:ext>
            </a:extLst>
          </p:cNvPr>
          <p:cNvSpPr/>
          <p:nvPr/>
        </p:nvSpPr>
        <p:spPr bwMode="auto">
          <a:xfrm>
            <a:off x="4016896" y="4621295"/>
            <a:ext cx="218506" cy="21737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</a:pPr>
            <a:r>
              <a:rPr lang="it-IT" sz="1200" b="1" dirty="0" smtClean="0">
                <a:solidFill>
                  <a:schemeClr val="bg1"/>
                </a:solidFill>
                <a:latin typeface="Arial"/>
              </a:rPr>
              <a:t>A</a:t>
            </a:r>
            <a:endParaRPr lang="it-IT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8194" name="Titolo 1"/>
          <p:cNvSpPr>
            <a:spLocks noGrp="1"/>
          </p:cNvSpPr>
          <p:nvPr>
            <p:ph type="title"/>
          </p:nvPr>
        </p:nvSpPr>
        <p:spPr>
          <a:xfrm>
            <a:off x="63499" y="130672"/>
            <a:ext cx="9752591" cy="338554"/>
          </a:xfrm>
        </p:spPr>
        <p:txBody>
          <a:bodyPr/>
          <a:lstStyle/>
          <a:p>
            <a:pPr marL="446088"/>
            <a:r>
              <a:rPr lang="it-IT" altLang="it-IT" sz="2200" dirty="0" smtClean="0"/>
              <a:t>Un piano di lavori ambizioso che coinvolge tutta la città</a:t>
            </a:r>
            <a:endParaRPr altLang="it-IT" sz="2200" dirty="0"/>
          </a:p>
        </p:txBody>
      </p:sp>
      <p:grpSp>
        <p:nvGrpSpPr>
          <p:cNvPr id="5" name="Gruppo 4"/>
          <p:cNvGrpSpPr/>
          <p:nvPr/>
        </p:nvGrpSpPr>
        <p:grpSpPr>
          <a:xfrm>
            <a:off x="6683130" y="2123980"/>
            <a:ext cx="3067156" cy="2847791"/>
            <a:chOff x="6683130" y="2123980"/>
            <a:chExt cx="3067156" cy="2847791"/>
          </a:xfrm>
        </p:grpSpPr>
        <p:sp>
          <p:nvSpPr>
            <p:cNvPr id="223" name="Triangolo isoscele 222">
              <a:extLst>
                <a:ext uri="{FF2B5EF4-FFF2-40B4-BE49-F238E27FC236}">
                  <a16:creationId xmlns="" xmlns:a16="http://schemas.microsoft.com/office/drawing/2014/main" id="{1C81C101-94CA-41AB-AD7E-FC8804011EF4}"/>
                </a:ext>
              </a:extLst>
            </p:cNvPr>
            <p:cNvSpPr/>
            <p:nvPr/>
          </p:nvSpPr>
          <p:spPr bwMode="auto">
            <a:xfrm rot="16200000" flipV="1">
              <a:off x="5547162" y="3574367"/>
              <a:ext cx="2533372" cy="261436"/>
            </a:xfrm>
            <a:prstGeom prst="triangle">
              <a:avLst/>
            </a:prstGeom>
            <a:solidFill>
              <a:schemeClr val="accent1">
                <a:lumMod val="50000"/>
              </a:schemeClr>
            </a:solidFill>
            <a:ln w="9525" algn="ctr">
              <a:solidFill>
                <a:schemeClr val="accent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endParaRPr lang="it-IT" sz="1400" b="1">
                <a:solidFill>
                  <a:srgbClr val="FFFFFF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4" name="Rettangolo 223">
              <a:extLst>
                <a:ext uri="{FF2B5EF4-FFF2-40B4-BE49-F238E27FC236}">
                  <a16:creationId xmlns="" xmlns:a16="http://schemas.microsoft.com/office/drawing/2014/main" id="{D70305A9-518F-401E-ADA8-1F79DDD86C61}"/>
                </a:ext>
              </a:extLst>
            </p:cNvPr>
            <p:cNvSpPr/>
            <p:nvPr/>
          </p:nvSpPr>
          <p:spPr bwMode="auto">
            <a:xfrm>
              <a:off x="7064609" y="2123980"/>
              <a:ext cx="2685677" cy="447764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400" b="1" dirty="0" smtClean="0">
                  <a:solidFill>
                    <a:srgbClr val="FFFFFF"/>
                  </a:solidFill>
                  <a:latin typeface="Arial"/>
                </a:rPr>
                <a:t>708 nuovi </a:t>
              </a:r>
              <a:r>
                <a:rPr lang="it-IT" sz="1400" b="1" dirty="0">
                  <a:solidFill>
                    <a:srgbClr val="FFFFFF"/>
                  </a:solidFill>
                  <a:latin typeface="Arial"/>
                </a:rPr>
                <a:t>alloggi</a:t>
              </a:r>
            </a:p>
          </p:txBody>
        </p:sp>
        <p:sp>
          <p:nvSpPr>
            <p:cNvPr id="225" name="Rettangolo 22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068457" y="2682184"/>
              <a:ext cx="2680647" cy="20327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285750" lvl="1" indent="-285750" eaLnBrk="0" hangingPunct="0">
                <a:spcAft>
                  <a:spcPts val="200"/>
                </a:spcAft>
                <a:defRPr/>
              </a:pPr>
              <a:endParaRPr lang="it-IT" sz="1400" dirty="0" smtClean="0">
                <a:solidFill>
                  <a:srgbClr val="000000"/>
                </a:solidFill>
                <a:latin typeface="Arial"/>
              </a:endParaRPr>
            </a:p>
            <a:p>
              <a:pPr marL="285750" lvl="1" indent="-285750" eaLnBrk="0" hangingPunct="0">
                <a:spcAft>
                  <a:spcPts val="200"/>
                </a:spcAft>
                <a:defRPr/>
              </a:pPr>
              <a:endParaRPr lang="it-IT" sz="1400" dirty="0" smtClean="0">
                <a:solidFill>
                  <a:srgbClr val="000000"/>
                </a:solidFill>
                <a:latin typeface="Arial"/>
              </a:endParaRPr>
            </a:p>
            <a:p>
              <a:pPr marL="180975" lvl="1" indent="-180975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400" dirty="0" smtClean="0">
                  <a:solidFill>
                    <a:srgbClr val="000000"/>
                  </a:solidFill>
                  <a:latin typeface="Arial"/>
                </a:rPr>
                <a:t>Per un totale di 708 nuovi alloggi il cui costo sarà di: </a:t>
              </a:r>
              <a:br>
                <a:rPr lang="it-IT" sz="14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1400" b="1" dirty="0" smtClean="0">
                  <a:solidFill>
                    <a:srgbClr val="000000"/>
                  </a:solidFill>
                  <a:latin typeface="Arial"/>
                </a:rPr>
                <a:t>€ 68.101,644,44</a:t>
              </a:r>
            </a:p>
            <a:p>
              <a:pPr marL="180975" lvl="1" indent="-180975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endParaRPr lang="it-IT" sz="1400" b="1" dirty="0" smtClean="0">
                <a:solidFill>
                  <a:srgbClr val="000000"/>
                </a:solidFill>
                <a:latin typeface="Arial"/>
              </a:endParaRPr>
            </a:p>
            <a:p>
              <a:pPr marL="180975" lvl="1" indent="-180975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400" b="1" u="sng" dirty="0" smtClean="0">
                  <a:solidFill>
                    <a:srgbClr val="000000"/>
                  </a:solidFill>
                  <a:latin typeface="Arial"/>
                </a:rPr>
                <a:t>Di cui 27 alloggi già consegnati</a:t>
              </a:r>
            </a:p>
          </p:txBody>
        </p:sp>
      </p:grpSp>
      <p:sp>
        <p:nvSpPr>
          <p:cNvPr id="226" name="Rettangolo 225">
            <a:extLst>
              <a:ext uri="{FF2B5EF4-FFF2-40B4-BE49-F238E27FC236}">
                <a16:creationId xmlns="" xmlns:a16="http://schemas.microsoft.com/office/drawing/2014/main" id="{D678E25C-0151-477B-980D-AE515CF93624}"/>
              </a:ext>
            </a:extLst>
          </p:cNvPr>
          <p:cNvSpPr/>
          <p:nvPr/>
        </p:nvSpPr>
        <p:spPr bwMode="auto">
          <a:xfrm>
            <a:off x="63499" y="6154883"/>
            <a:ext cx="6619631" cy="65549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  <a:defRPr/>
            </a:pPr>
            <a:r>
              <a:rPr lang="it-IT" sz="1200" dirty="0" smtClean="0">
                <a:solidFill>
                  <a:srgbClr val="000000"/>
                </a:solidFill>
                <a:latin typeface="Arial"/>
              </a:rPr>
              <a:t>Il più grande piano di edilizia residenziale pubblica interamente finanziato, </a:t>
            </a:r>
            <a:r>
              <a:rPr lang="it-IT" sz="1200" b="1" dirty="0" smtClean="0">
                <a:solidFill>
                  <a:srgbClr val="000000"/>
                </a:solidFill>
                <a:latin typeface="Arial"/>
              </a:rPr>
              <a:t>senza consumo di suolo </a:t>
            </a:r>
            <a:r>
              <a:rPr lang="it-IT" sz="1200" dirty="0" smtClean="0">
                <a:solidFill>
                  <a:srgbClr val="000000"/>
                </a:solidFill>
                <a:latin typeface="Arial"/>
              </a:rPr>
              <a:t>e nel rispetto </a:t>
            </a:r>
            <a:r>
              <a:rPr lang="it-IT" sz="1200" dirty="0">
                <a:solidFill>
                  <a:srgbClr val="000000"/>
                </a:solidFill>
                <a:latin typeface="Arial"/>
              </a:rPr>
              <a:t>dell’ambiente </a:t>
            </a:r>
            <a:r>
              <a:rPr lang="it-IT" sz="1200" dirty="0" smtClean="0">
                <a:solidFill>
                  <a:srgbClr val="000000"/>
                </a:solidFill>
                <a:latin typeface="Arial"/>
              </a:rPr>
              <a:t>(L.R</a:t>
            </a:r>
            <a:r>
              <a:rPr lang="it-IT" sz="1200" dirty="0">
                <a:solidFill>
                  <a:srgbClr val="000000"/>
                </a:solidFill>
                <a:latin typeface="Arial"/>
              </a:rPr>
              <a:t>. 27 Maggio 2008, n. 6 ,decreto legislativo 3 marzo 2011, n. 28 , decreto interministeriale 26 giugno 2015 </a:t>
            </a:r>
            <a:r>
              <a:rPr lang="it-IT" sz="1200" dirty="0" smtClean="0">
                <a:solidFill>
                  <a:srgbClr val="000000"/>
                </a:solidFill>
                <a:latin typeface="Arial"/>
              </a:rPr>
              <a:t>negli ultimi </a:t>
            </a:r>
            <a:r>
              <a:rPr lang="it-IT" sz="1200" dirty="0" smtClean="0">
                <a:latin typeface="Arial"/>
              </a:rPr>
              <a:t>30 </a:t>
            </a:r>
            <a:r>
              <a:rPr lang="it-IT" sz="1200" dirty="0" smtClean="0">
                <a:solidFill>
                  <a:srgbClr val="000000"/>
                </a:solidFill>
                <a:latin typeface="Arial"/>
              </a:rPr>
              <a:t>anni a Roma</a:t>
            </a:r>
            <a:endParaRPr lang="it-IT" sz="12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34" name="Gruppo 333">
            <a:extLst>
              <a:ext uri="{FF2B5EF4-FFF2-40B4-BE49-F238E27FC236}">
                <a16:creationId xmlns="" xmlns:a16="http://schemas.microsoft.com/office/drawing/2014/main" id="{D93B150C-08D4-4A13-A8D8-A8766C2681BC}"/>
              </a:ext>
            </a:extLst>
          </p:cNvPr>
          <p:cNvGrpSpPr/>
          <p:nvPr/>
        </p:nvGrpSpPr>
        <p:grpSpPr>
          <a:xfrm>
            <a:off x="135886" y="979558"/>
            <a:ext cx="5439638" cy="5175288"/>
            <a:chOff x="1208584" y="1263612"/>
            <a:chExt cx="5439638" cy="5175288"/>
          </a:xfrm>
          <a:solidFill>
            <a:srgbClr val="D3D3D3"/>
          </a:solidFill>
        </p:grpSpPr>
        <p:sp>
          <p:nvSpPr>
            <p:cNvPr id="335" name="Figura a mano libera 5151">
              <a:extLst>
                <a:ext uri="{FF2B5EF4-FFF2-40B4-BE49-F238E27FC236}">
                  <a16:creationId xmlns="" xmlns:a16="http://schemas.microsoft.com/office/drawing/2014/main" id="{18AD0413-ECBD-4904-BCCB-45D3B4D9B0C0}"/>
                </a:ext>
              </a:extLst>
            </p:cNvPr>
            <p:cNvSpPr/>
            <p:nvPr/>
          </p:nvSpPr>
          <p:spPr bwMode="auto">
            <a:xfrm>
              <a:off x="1721028" y="1263612"/>
              <a:ext cx="455931" cy="369332"/>
            </a:xfrm>
            <a:custGeom>
              <a:avLst/>
              <a:gdLst>
                <a:gd name="connsiteX0" fmla="*/ 23813 w 328613"/>
                <a:gd name="connsiteY0" fmla="*/ 0 h 245269"/>
                <a:gd name="connsiteX1" fmla="*/ 235744 w 328613"/>
                <a:gd name="connsiteY1" fmla="*/ 0 h 245269"/>
                <a:gd name="connsiteX2" fmla="*/ 230982 w 328613"/>
                <a:gd name="connsiteY2" fmla="*/ 38100 h 245269"/>
                <a:gd name="connsiteX3" fmla="*/ 266700 w 328613"/>
                <a:gd name="connsiteY3" fmla="*/ 45244 h 245269"/>
                <a:gd name="connsiteX4" fmla="*/ 288132 w 328613"/>
                <a:gd name="connsiteY4" fmla="*/ 76200 h 245269"/>
                <a:gd name="connsiteX5" fmla="*/ 314325 w 328613"/>
                <a:gd name="connsiteY5" fmla="*/ 78582 h 245269"/>
                <a:gd name="connsiteX6" fmla="*/ 323850 w 328613"/>
                <a:gd name="connsiteY6" fmla="*/ 109538 h 245269"/>
                <a:gd name="connsiteX7" fmla="*/ 323850 w 328613"/>
                <a:gd name="connsiteY7" fmla="*/ 157163 h 245269"/>
                <a:gd name="connsiteX8" fmla="*/ 328613 w 328613"/>
                <a:gd name="connsiteY8" fmla="*/ 190500 h 245269"/>
                <a:gd name="connsiteX9" fmla="*/ 276225 w 328613"/>
                <a:gd name="connsiteY9" fmla="*/ 161925 h 245269"/>
                <a:gd name="connsiteX10" fmla="*/ 261938 w 328613"/>
                <a:gd name="connsiteY10" fmla="*/ 150019 h 245269"/>
                <a:gd name="connsiteX11" fmla="*/ 195263 w 328613"/>
                <a:gd name="connsiteY11" fmla="*/ 164307 h 245269"/>
                <a:gd name="connsiteX12" fmla="*/ 166688 w 328613"/>
                <a:gd name="connsiteY12" fmla="*/ 216694 h 245269"/>
                <a:gd name="connsiteX13" fmla="*/ 154782 w 328613"/>
                <a:gd name="connsiteY13" fmla="*/ 245269 h 245269"/>
                <a:gd name="connsiteX14" fmla="*/ 133350 w 328613"/>
                <a:gd name="connsiteY14" fmla="*/ 221457 h 245269"/>
                <a:gd name="connsiteX15" fmla="*/ 116682 w 328613"/>
                <a:gd name="connsiteY15" fmla="*/ 185738 h 245269"/>
                <a:gd name="connsiteX16" fmla="*/ 85725 w 328613"/>
                <a:gd name="connsiteY16" fmla="*/ 183357 h 245269"/>
                <a:gd name="connsiteX17" fmla="*/ 50007 w 328613"/>
                <a:gd name="connsiteY17" fmla="*/ 161925 h 245269"/>
                <a:gd name="connsiteX18" fmla="*/ 23813 w 328613"/>
                <a:gd name="connsiteY18" fmla="*/ 200025 h 245269"/>
                <a:gd name="connsiteX19" fmla="*/ 0 w 328613"/>
                <a:gd name="connsiteY19" fmla="*/ 157163 h 245269"/>
                <a:gd name="connsiteX20" fmla="*/ 4763 w 328613"/>
                <a:gd name="connsiteY20" fmla="*/ 78582 h 245269"/>
                <a:gd name="connsiteX21" fmla="*/ 23813 w 328613"/>
                <a:gd name="connsiteY21" fmla="*/ 0 h 245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328613" h="245269">
                  <a:moveTo>
                    <a:pt x="23813" y="0"/>
                  </a:moveTo>
                  <a:lnTo>
                    <a:pt x="235744" y="0"/>
                  </a:lnTo>
                  <a:lnTo>
                    <a:pt x="230982" y="38100"/>
                  </a:lnTo>
                  <a:lnTo>
                    <a:pt x="266700" y="45244"/>
                  </a:lnTo>
                  <a:lnTo>
                    <a:pt x="288132" y="76200"/>
                  </a:lnTo>
                  <a:lnTo>
                    <a:pt x="314325" y="78582"/>
                  </a:lnTo>
                  <a:lnTo>
                    <a:pt x="323850" y="109538"/>
                  </a:lnTo>
                  <a:lnTo>
                    <a:pt x="323850" y="157163"/>
                  </a:lnTo>
                  <a:lnTo>
                    <a:pt x="328613" y="190500"/>
                  </a:lnTo>
                  <a:lnTo>
                    <a:pt x="276225" y="161925"/>
                  </a:lnTo>
                  <a:lnTo>
                    <a:pt x="261938" y="150019"/>
                  </a:lnTo>
                  <a:lnTo>
                    <a:pt x="195263" y="164307"/>
                  </a:lnTo>
                  <a:lnTo>
                    <a:pt x="166688" y="216694"/>
                  </a:lnTo>
                  <a:lnTo>
                    <a:pt x="154782" y="245269"/>
                  </a:lnTo>
                  <a:lnTo>
                    <a:pt x="133350" y="221457"/>
                  </a:lnTo>
                  <a:lnTo>
                    <a:pt x="116682" y="185738"/>
                  </a:lnTo>
                  <a:lnTo>
                    <a:pt x="85725" y="183357"/>
                  </a:lnTo>
                  <a:lnTo>
                    <a:pt x="50007" y="161925"/>
                  </a:lnTo>
                  <a:lnTo>
                    <a:pt x="23813" y="200025"/>
                  </a:lnTo>
                  <a:lnTo>
                    <a:pt x="0" y="157163"/>
                  </a:lnTo>
                  <a:lnTo>
                    <a:pt x="4763" y="78582"/>
                  </a:lnTo>
                  <a:lnTo>
                    <a:pt x="23813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36" name="Figura a mano libera: forma 335">
              <a:extLst>
                <a:ext uri="{FF2B5EF4-FFF2-40B4-BE49-F238E27FC236}">
                  <a16:creationId xmlns="" xmlns:a16="http://schemas.microsoft.com/office/drawing/2014/main" id="{0DEDDE28-6896-488C-8E1D-7EF3E404608B}"/>
                </a:ext>
              </a:extLst>
            </p:cNvPr>
            <p:cNvSpPr/>
            <p:nvPr/>
          </p:nvSpPr>
          <p:spPr bwMode="auto">
            <a:xfrm>
              <a:off x="1211759" y="4791075"/>
              <a:ext cx="1933575" cy="1647825"/>
            </a:xfrm>
            <a:custGeom>
              <a:avLst/>
              <a:gdLst>
                <a:gd name="connsiteX0" fmla="*/ 0 w 1933575"/>
                <a:gd name="connsiteY0" fmla="*/ 704850 h 1647825"/>
                <a:gd name="connsiteX1" fmla="*/ 247650 w 1933575"/>
                <a:gd name="connsiteY1" fmla="*/ 809625 h 1647825"/>
                <a:gd name="connsiteX2" fmla="*/ 314325 w 1933575"/>
                <a:gd name="connsiteY2" fmla="*/ 866775 h 1647825"/>
                <a:gd name="connsiteX3" fmla="*/ 466725 w 1933575"/>
                <a:gd name="connsiteY3" fmla="*/ 876300 h 1647825"/>
                <a:gd name="connsiteX4" fmla="*/ 581025 w 1933575"/>
                <a:gd name="connsiteY4" fmla="*/ 923925 h 1647825"/>
                <a:gd name="connsiteX5" fmla="*/ 685800 w 1933575"/>
                <a:gd name="connsiteY5" fmla="*/ 1000125 h 1647825"/>
                <a:gd name="connsiteX6" fmla="*/ 923925 w 1933575"/>
                <a:gd name="connsiteY6" fmla="*/ 1095375 h 1647825"/>
                <a:gd name="connsiteX7" fmla="*/ 1038225 w 1933575"/>
                <a:gd name="connsiteY7" fmla="*/ 1209675 h 1647825"/>
                <a:gd name="connsiteX8" fmla="*/ 1590675 w 1933575"/>
                <a:gd name="connsiteY8" fmla="*/ 1647825 h 1647825"/>
                <a:gd name="connsiteX9" fmla="*/ 1933575 w 1933575"/>
                <a:gd name="connsiteY9" fmla="*/ 1371600 h 1647825"/>
                <a:gd name="connsiteX10" fmla="*/ 1676400 w 1933575"/>
                <a:gd name="connsiteY10" fmla="*/ 1066800 h 1647825"/>
                <a:gd name="connsiteX11" fmla="*/ 1743075 w 1933575"/>
                <a:gd name="connsiteY11" fmla="*/ 981075 h 1647825"/>
                <a:gd name="connsiteX12" fmla="*/ 1743075 w 1933575"/>
                <a:gd name="connsiteY12" fmla="*/ 847725 h 1647825"/>
                <a:gd name="connsiteX13" fmla="*/ 1752600 w 1933575"/>
                <a:gd name="connsiteY13" fmla="*/ 685800 h 1647825"/>
                <a:gd name="connsiteX14" fmla="*/ 1809750 w 1933575"/>
                <a:gd name="connsiteY14" fmla="*/ 609600 h 1647825"/>
                <a:gd name="connsiteX15" fmla="*/ 1809750 w 1933575"/>
                <a:gd name="connsiteY15" fmla="*/ 533400 h 1647825"/>
                <a:gd name="connsiteX16" fmla="*/ 1838325 w 1933575"/>
                <a:gd name="connsiteY16" fmla="*/ 419100 h 1647825"/>
                <a:gd name="connsiteX17" fmla="*/ 1838325 w 1933575"/>
                <a:gd name="connsiteY17" fmla="*/ 419100 h 1647825"/>
                <a:gd name="connsiteX18" fmla="*/ 1685925 w 1933575"/>
                <a:gd name="connsiteY18" fmla="*/ 276225 h 1647825"/>
                <a:gd name="connsiteX19" fmla="*/ 1571625 w 1933575"/>
                <a:gd name="connsiteY19" fmla="*/ 228600 h 1647825"/>
                <a:gd name="connsiteX20" fmla="*/ 1476375 w 1933575"/>
                <a:gd name="connsiteY20" fmla="*/ 142875 h 1647825"/>
                <a:gd name="connsiteX21" fmla="*/ 1390650 w 1933575"/>
                <a:gd name="connsiteY21" fmla="*/ 104775 h 1647825"/>
                <a:gd name="connsiteX22" fmla="*/ 1343025 w 1933575"/>
                <a:gd name="connsiteY22" fmla="*/ 104775 h 1647825"/>
                <a:gd name="connsiteX23" fmla="*/ 1219200 w 1933575"/>
                <a:gd name="connsiteY23" fmla="*/ 85725 h 1647825"/>
                <a:gd name="connsiteX24" fmla="*/ 1057275 w 1933575"/>
                <a:gd name="connsiteY24" fmla="*/ 19050 h 1647825"/>
                <a:gd name="connsiteX25" fmla="*/ 990600 w 1933575"/>
                <a:gd name="connsiteY25" fmla="*/ 0 h 1647825"/>
                <a:gd name="connsiteX26" fmla="*/ 885825 w 1933575"/>
                <a:gd name="connsiteY26" fmla="*/ 9525 h 1647825"/>
                <a:gd name="connsiteX27" fmla="*/ 866775 w 1933575"/>
                <a:gd name="connsiteY27" fmla="*/ 104775 h 1647825"/>
                <a:gd name="connsiteX28" fmla="*/ 819150 w 1933575"/>
                <a:gd name="connsiteY28" fmla="*/ 123825 h 1647825"/>
                <a:gd name="connsiteX29" fmla="*/ 666750 w 1933575"/>
                <a:gd name="connsiteY29" fmla="*/ 114300 h 1647825"/>
                <a:gd name="connsiteX30" fmla="*/ 533400 w 1933575"/>
                <a:gd name="connsiteY30" fmla="*/ 114300 h 1647825"/>
                <a:gd name="connsiteX31" fmla="*/ 523875 w 1933575"/>
                <a:gd name="connsiteY31" fmla="*/ 171450 h 1647825"/>
                <a:gd name="connsiteX32" fmla="*/ 428625 w 1933575"/>
                <a:gd name="connsiteY32" fmla="*/ 228600 h 1647825"/>
                <a:gd name="connsiteX33" fmla="*/ 381000 w 1933575"/>
                <a:gd name="connsiteY33" fmla="*/ 352425 h 1647825"/>
                <a:gd name="connsiteX34" fmla="*/ 381000 w 1933575"/>
                <a:gd name="connsiteY34" fmla="*/ 457200 h 1647825"/>
                <a:gd name="connsiteX35" fmla="*/ 381000 w 1933575"/>
                <a:gd name="connsiteY35" fmla="*/ 552450 h 1647825"/>
                <a:gd name="connsiteX36" fmla="*/ 371475 w 1933575"/>
                <a:gd name="connsiteY36" fmla="*/ 619125 h 1647825"/>
                <a:gd name="connsiteX37" fmla="*/ 200025 w 1933575"/>
                <a:gd name="connsiteY37" fmla="*/ 638175 h 1647825"/>
                <a:gd name="connsiteX38" fmla="*/ 57150 w 1933575"/>
                <a:gd name="connsiteY38" fmla="*/ 704850 h 1647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933575" h="1647825">
                  <a:moveTo>
                    <a:pt x="0" y="704850"/>
                  </a:moveTo>
                  <a:lnTo>
                    <a:pt x="247650" y="809625"/>
                  </a:lnTo>
                  <a:lnTo>
                    <a:pt x="314325" y="866775"/>
                  </a:lnTo>
                  <a:lnTo>
                    <a:pt x="466725" y="876300"/>
                  </a:lnTo>
                  <a:lnTo>
                    <a:pt x="581025" y="923925"/>
                  </a:lnTo>
                  <a:lnTo>
                    <a:pt x="685800" y="1000125"/>
                  </a:lnTo>
                  <a:lnTo>
                    <a:pt x="923925" y="1095375"/>
                  </a:lnTo>
                  <a:lnTo>
                    <a:pt x="1038225" y="1209675"/>
                  </a:lnTo>
                  <a:lnTo>
                    <a:pt x="1590675" y="1647825"/>
                  </a:lnTo>
                  <a:lnTo>
                    <a:pt x="1933575" y="1371600"/>
                  </a:lnTo>
                  <a:lnTo>
                    <a:pt x="1676400" y="1066800"/>
                  </a:lnTo>
                  <a:lnTo>
                    <a:pt x="1743075" y="981075"/>
                  </a:lnTo>
                  <a:lnTo>
                    <a:pt x="1743075" y="847725"/>
                  </a:lnTo>
                  <a:lnTo>
                    <a:pt x="1752600" y="685800"/>
                  </a:lnTo>
                  <a:lnTo>
                    <a:pt x="1809750" y="609600"/>
                  </a:lnTo>
                  <a:lnTo>
                    <a:pt x="1809750" y="533400"/>
                  </a:lnTo>
                  <a:lnTo>
                    <a:pt x="1838325" y="419100"/>
                  </a:lnTo>
                  <a:lnTo>
                    <a:pt x="1838325" y="419100"/>
                  </a:lnTo>
                  <a:lnTo>
                    <a:pt x="1685925" y="276225"/>
                  </a:lnTo>
                  <a:lnTo>
                    <a:pt x="1571625" y="228600"/>
                  </a:lnTo>
                  <a:lnTo>
                    <a:pt x="1476375" y="142875"/>
                  </a:lnTo>
                  <a:lnTo>
                    <a:pt x="1390650" y="104775"/>
                  </a:lnTo>
                  <a:lnTo>
                    <a:pt x="1343025" y="104775"/>
                  </a:lnTo>
                  <a:lnTo>
                    <a:pt x="1219200" y="85725"/>
                  </a:lnTo>
                  <a:lnTo>
                    <a:pt x="1057275" y="19050"/>
                  </a:lnTo>
                  <a:lnTo>
                    <a:pt x="990600" y="0"/>
                  </a:lnTo>
                  <a:lnTo>
                    <a:pt x="885825" y="9525"/>
                  </a:lnTo>
                  <a:lnTo>
                    <a:pt x="866775" y="104775"/>
                  </a:lnTo>
                  <a:lnTo>
                    <a:pt x="819150" y="123825"/>
                  </a:lnTo>
                  <a:lnTo>
                    <a:pt x="666750" y="114300"/>
                  </a:lnTo>
                  <a:lnTo>
                    <a:pt x="533400" y="114300"/>
                  </a:lnTo>
                  <a:lnTo>
                    <a:pt x="523875" y="171450"/>
                  </a:lnTo>
                  <a:lnTo>
                    <a:pt x="428625" y="228600"/>
                  </a:lnTo>
                  <a:lnTo>
                    <a:pt x="381000" y="352425"/>
                  </a:lnTo>
                  <a:lnTo>
                    <a:pt x="381000" y="457200"/>
                  </a:lnTo>
                  <a:lnTo>
                    <a:pt x="381000" y="552450"/>
                  </a:lnTo>
                  <a:lnTo>
                    <a:pt x="371475" y="619125"/>
                  </a:lnTo>
                  <a:lnTo>
                    <a:pt x="200025" y="638175"/>
                  </a:lnTo>
                  <a:lnTo>
                    <a:pt x="57150" y="704850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/>
            </a:p>
          </p:txBody>
        </p:sp>
        <p:sp>
          <p:nvSpPr>
            <p:cNvPr id="337" name="Figura a mano libera: forma 336">
              <a:extLst>
                <a:ext uri="{FF2B5EF4-FFF2-40B4-BE49-F238E27FC236}">
                  <a16:creationId xmlns="" xmlns:a16="http://schemas.microsoft.com/office/drawing/2014/main" id="{D888BE34-28C9-4CE6-BF79-332BC32F6CC3}"/>
                </a:ext>
              </a:extLst>
            </p:cNvPr>
            <p:cNvSpPr/>
            <p:nvPr/>
          </p:nvSpPr>
          <p:spPr bwMode="auto">
            <a:xfrm>
              <a:off x="2611934" y="4305300"/>
              <a:ext cx="1933575" cy="1847850"/>
            </a:xfrm>
            <a:custGeom>
              <a:avLst/>
              <a:gdLst>
                <a:gd name="connsiteX0" fmla="*/ 0 w 1933575"/>
                <a:gd name="connsiteY0" fmla="*/ 590550 h 1847850"/>
                <a:gd name="connsiteX1" fmla="*/ 66675 w 1933575"/>
                <a:gd name="connsiteY1" fmla="*/ 590550 h 1847850"/>
                <a:gd name="connsiteX2" fmla="*/ 104775 w 1933575"/>
                <a:gd name="connsiteY2" fmla="*/ 714375 h 1847850"/>
                <a:gd name="connsiteX3" fmla="*/ 266700 w 1933575"/>
                <a:gd name="connsiteY3" fmla="*/ 800100 h 1847850"/>
                <a:gd name="connsiteX4" fmla="*/ 400050 w 1933575"/>
                <a:gd name="connsiteY4" fmla="*/ 847725 h 1847850"/>
                <a:gd name="connsiteX5" fmla="*/ 428625 w 1933575"/>
                <a:gd name="connsiteY5" fmla="*/ 942975 h 1847850"/>
                <a:gd name="connsiteX6" fmla="*/ 400050 w 1933575"/>
                <a:gd name="connsiteY6" fmla="*/ 1114425 h 1847850"/>
                <a:gd name="connsiteX7" fmla="*/ 323850 w 1933575"/>
                <a:gd name="connsiteY7" fmla="*/ 1333500 h 1847850"/>
                <a:gd name="connsiteX8" fmla="*/ 342900 w 1933575"/>
                <a:gd name="connsiteY8" fmla="*/ 1476375 h 1847850"/>
                <a:gd name="connsiteX9" fmla="*/ 266700 w 1933575"/>
                <a:gd name="connsiteY9" fmla="*/ 1552575 h 1847850"/>
                <a:gd name="connsiteX10" fmla="*/ 342900 w 1933575"/>
                <a:gd name="connsiteY10" fmla="*/ 1666875 h 1847850"/>
                <a:gd name="connsiteX11" fmla="*/ 504825 w 1933575"/>
                <a:gd name="connsiteY11" fmla="*/ 1847850 h 1847850"/>
                <a:gd name="connsiteX12" fmla="*/ 676275 w 1933575"/>
                <a:gd name="connsiteY12" fmla="*/ 1790700 h 1847850"/>
                <a:gd name="connsiteX13" fmla="*/ 800100 w 1933575"/>
                <a:gd name="connsiteY13" fmla="*/ 1771650 h 1847850"/>
                <a:gd name="connsiteX14" fmla="*/ 885825 w 1933575"/>
                <a:gd name="connsiteY14" fmla="*/ 1743075 h 1847850"/>
                <a:gd name="connsiteX15" fmla="*/ 1028700 w 1933575"/>
                <a:gd name="connsiteY15" fmla="*/ 1790700 h 1847850"/>
                <a:gd name="connsiteX16" fmla="*/ 1143000 w 1933575"/>
                <a:gd name="connsiteY16" fmla="*/ 1771650 h 1847850"/>
                <a:gd name="connsiteX17" fmla="*/ 1295400 w 1933575"/>
                <a:gd name="connsiteY17" fmla="*/ 1647825 h 1847850"/>
                <a:gd name="connsiteX18" fmla="*/ 1428750 w 1933575"/>
                <a:gd name="connsiteY18" fmla="*/ 1533525 h 1847850"/>
                <a:gd name="connsiteX19" fmla="*/ 1590675 w 1933575"/>
                <a:gd name="connsiteY19" fmla="*/ 1533525 h 1847850"/>
                <a:gd name="connsiteX20" fmla="*/ 1819275 w 1933575"/>
                <a:gd name="connsiteY20" fmla="*/ 1704975 h 1847850"/>
                <a:gd name="connsiteX21" fmla="*/ 1933575 w 1933575"/>
                <a:gd name="connsiteY21" fmla="*/ 1752600 h 1847850"/>
                <a:gd name="connsiteX22" fmla="*/ 1924050 w 1933575"/>
                <a:gd name="connsiteY22" fmla="*/ 1657350 h 1847850"/>
                <a:gd name="connsiteX23" fmla="*/ 1895475 w 1933575"/>
                <a:gd name="connsiteY23" fmla="*/ 1524000 h 1847850"/>
                <a:gd name="connsiteX24" fmla="*/ 1838325 w 1933575"/>
                <a:gd name="connsiteY24" fmla="*/ 1419225 h 1847850"/>
                <a:gd name="connsiteX25" fmla="*/ 1762125 w 1933575"/>
                <a:gd name="connsiteY25" fmla="*/ 1390650 h 1847850"/>
                <a:gd name="connsiteX26" fmla="*/ 1819275 w 1933575"/>
                <a:gd name="connsiteY26" fmla="*/ 1285875 h 1847850"/>
                <a:gd name="connsiteX27" fmla="*/ 1819275 w 1933575"/>
                <a:gd name="connsiteY27" fmla="*/ 1285875 h 1847850"/>
                <a:gd name="connsiteX28" fmla="*/ 1752600 w 1933575"/>
                <a:gd name="connsiteY28" fmla="*/ 1171575 h 1847850"/>
                <a:gd name="connsiteX29" fmla="*/ 1771650 w 1933575"/>
                <a:gd name="connsiteY29" fmla="*/ 1114425 h 1847850"/>
                <a:gd name="connsiteX30" fmla="*/ 1676400 w 1933575"/>
                <a:gd name="connsiteY30" fmla="*/ 1114425 h 1847850"/>
                <a:gd name="connsiteX31" fmla="*/ 1666875 w 1933575"/>
                <a:gd name="connsiteY31" fmla="*/ 1066800 h 1847850"/>
                <a:gd name="connsiteX32" fmla="*/ 1762125 w 1933575"/>
                <a:gd name="connsiteY32" fmla="*/ 1066800 h 1847850"/>
                <a:gd name="connsiteX33" fmla="*/ 1771650 w 1933575"/>
                <a:gd name="connsiteY33" fmla="*/ 1000125 h 1847850"/>
                <a:gd name="connsiteX34" fmla="*/ 1771650 w 1933575"/>
                <a:gd name="connsiteY34" fmla="*/ 1000125 h 1847850"/>
                <a:gd name="connsiteX35" fmla="*/ 1771650 w 1933575"/>
                <a:gd name="connsiteY35" fmla="*/ 857250 h 1847850"/>
                <a:gd name="connsiteX36" fmla="*/ 1638300 w 1933575"/>
                <a:gd name="connsiteY36" fmla="*/ 762000 h 1847850"/>
                <a:gd name="connsiteX37" fmla="*/ 1428750 w 1933575"/>
                <a:gd name="connsiteY37" fmla="*/ 619125 h 1847850"/>
                <a:gd name="connsiteX38" fmla="*/ 1247775 w 1933575"/>
                <a:gd name="connsiteY38" fmla="*/ 495300 h 1847850"/>
                <a:gd name="connsiteX39" fmla="*/ 1171575 w 1933575"/>
                <a:gd name="connsiteY39" fmla="*/ 381000 h 1847850"/>
                <a:gd name="connsiteX40" fmla="*/ 1076325 w 1933575"/>
                <a:gd name="connsiteY40" fmla="*/ 257175 h 1847850"/>
                <a:gd name="connsiteX41" fmla="*/ 923925 w 1933575"/>
                <a:gd name="connsiteY41" fmla="*/ 276225 h 1847850"/>
                <a:gd name="connsiteX42" fmla="*/ 790575 w 1933575"/>
                <a:gd name="connsiteY42" fmla="*/ 257175 h 1847850"/>
                <a:gd name="connsiteX43" fmla="*/ 800100 w 1933575"/>
                <a:gd name="connsiteY43" fmla="*/ 104775 h 1847850"/>
                <a:gd name="connsiteX44" fmla="*/ 685800 w 1933575"/>
                <a:gd name="connsiteY44" fmla="*/ 0 h 1847850"/>
                <a:gd name="connsiteX45" fmla="*/ 533400 w 1933575"/>
                <a:gd name="connsiteY45" fmla="*/ 171450 h 1847850"/>
                <a:gd name="connsiteX46" fmla="*/ 400050 w 1933575"/>
                <a:gd name="connsiteY46" fmla="*/ 257175 h 1847850"/>
                <a:gd name="connsiteX47" fmla="*/ 257175 w 1933575"/>
                <a:gd name="connsiteY47" fmla="*/ 219075 h 1847850"/>
                <a:gd name="connsiteX48" fmla="*/ 200025 w 1933575"/>
                <a:gd name="connsiteY48" fmla="*/ 333375 h 1847850"/>
                <a:gd name="connsiteX49" fmla="*/ 161925 w 1933575"/>
                <a:gd name="connsiteY49" fmla="*/ 485775 h 1847850"/>
                <a:gd name="connsiteX50" fmla="*/ 66675 w 1933575"/>
                <a:gd name="connsiteY50" fmla="*/ 590550 h 1847850"/>
                <a:gd name="connsiteX51" fmla="*/ 38100 w 1933575"/>
                <a:gd name="connsiteY51" fmla="*/ 638175 h 184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933575" h="1847850">
                  <a:moveTo>
                    <a:pt x="0" y="590550"/>
                  </a:moveTo>
                  <a:lnTo>
                    <a:pt x="66675" y="590550"/>
                  </a:lnTo>
                  <a:lnTo>
                    <a:pt x="104775" y="714375"/>
                  </a:lnTo>
                  <a:lnTo>
                    <a:pt x="266700" y="800100"/>
                  </a:lnTo>
                  <a:lnTo>
                    <a:pt x="400050" y="847725"/>
                  </a:lnTo>
                  <a:lnTo>
                    <a:pt x="428625" y="942975"/>
                  </a:lnTo>
                  <a:lnTo>
                    <a:pt x="400050" y="1114425"/>
                  </a:lnTo>
                  <a:lnTo>
                    <a:pt x="323850" y="1333500"/>
                  </a:lnTo>
                  <a:lnTo>
                    <a:pt x="342900" y="1476375"/>
                  </a:lnTo>
                  <a:lnTo>
                    <a:pt x="266700" y="1552575"/>
                  </a:lnTo>
                  <a:lnTo>
                    <a:pt x="342900" y="1666875"/>
                  </a:lnTo>
                  <a:lnTo>
                    <a:pt x="504825" y="1847850"/>
                  </a:lnTo>
                  <a:lnTo>
                    <a:pt x="676275" y="1790700"/>
                  </a:lnTo>
                  <a:lnTo>
                    <a:pt x="800100" y="1771650"/>
                  </a:lnTo>
                  <a:lnTo>
                    <a:pt x="885825" y="1743075"/>
                  </a:lnTo>
                  <a:lnTo>
                    <a:pt x="1028700" y="1790700"/>
                  </a:lnTo>
                  <a:lnTo>
                    <a:pt x="1143000" y="1771650"/>
                  </a:lnTo>
                  <a:lnTo>
                    <a:pt x="1295400" y="1647825"/>
                  </a:lnTo>
                  <a:lnTo>
                    <a:pt x="1428750" y="1533525"/>
                  </a:lnTo>
                  <a:lnTo>
                    <a:pt x="1590675" y="1533525"/>
                  </a:lnTo>
                  <a:lnTo>
                    <a:pt x="1819275" y="1704975"/>
                  </a:lnTo>
                  <a:lnTo>
                    <a:pt x="1933575" y="1752600"/>
                  </a:lnTo>
                  <a:lnTo>
                    <a:pt x="1924050" y="1657350"/>
                  </a:lnTo>
                  <a:lnTo>
                    <a:pt x="1895475" y="1524000"/>
                  </a:lnTo>
                  <a:lnTo>
                    <a:pt x="1838325" y="1419225"/>
                  </a:lnTo>
                  <a:lnTo>
                    <a:pt x="1762125" y="1390650"/>
                  </a:lnTo>
                  <a:lnTo>
                    <a:pt x="1819275" y="1285875"/>
                  </a:lnTo>
                  <a:lnTo>
                    <a:pt x="1819275" y="1285875"/>
                  </a:lnTo>
                  <a:lnTo>
                    <a:pt x="1752600" y="1171575"/>
                  </a:lnTo>
                  <a:lnTo>
                    <a:pt x="1771650" y="1114425"/>
                  </a:lnTo>
                  <a:lnTo>
                    <a:pt x="1676400" y="1114425"/>
                  </a:lnTo>
                  <a:lnTo>
                    <a:pt x="1666875" y="1066800"/>
                  </a:lnTo>
                  <a:lnTo>
                    <a:pt x="1762125" y="1066800"/>
                  </a:lnTo>
                  <a:lnTo>
                    <a:pt x="1771650" y="1000125"/>
                  </a:lnTo>
                  <a:lnTo>
                    <a:pt x="1771650" y="1000125"/>
                  </a:lnTo>
                  <a:lnTo>
                    <a:pt x="1771650" y="857250"/>
                  </a:lnTo>
                  <a:lnTo>
                    <a:pt x="1638300" y="762000"/>
                  </a:lnTo>
                  <a:lnTo>
                    <a:pt x="1428750" y="619125"/>
                  </a:lnTo>
                  <a:lnTo>
                    <a:pt x="1247775" y="495300"/>
                  </a:lnTo>
                  <a:lnTo>
                    <a:pt x="1171575" y="381000"/>
                  </a:lnTo>
                  <a:lnTo>
                    <a:pt x="1076325" y="257175"/>
                  </a:lnTo>
                  <a:lnTo>
                    <a:pt x="923925" y="276225"/>
                  </a:lnTo>
                  <a:lnTo>
                    <a:pt x="790575" y="257175"/>
                  </a:lnTo>
                  <a:lnTo>
                    <a:pt x="800100" y="104775"/>
                  </a:lnTo>
                  <a:lnTo>
                    <a:pt x="685800" y="0"/>
                  </a:lnTo>
                  <a:lnTo>
                    <a:pt x="533400" y="171450"/>
                  </a:lnTo>
                  <a:lnTo>
                    <a:pt x="400050" y="257175"/>
                  </a:lnTo>
                  <a:lnTo>
                    <a:pt x="257175" y="219075"/>
                  </a:lnTo>
                  <a:lnTo>
                    <a:pt x="200025" y="333375"/>
                  </a:lnTo>
                  <a:lnTo>
                    <a:pt x="161925" y="485775"/>
                  </a:lnTo>
                  <a:lnTo>
                    <a:pt x="66675" y="590550"/>
                  </a:lnTo>
                  <a:lnTo>
                    <a:pt x="38100" y="638175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/>
            </a:p>
          </p:txBody>
        </p:sp>
        <p:sp>
          <p:nvSpPr>
            <p:cNvPr id="338" name="Figura a mano libera: forma 337">
              <a:extLst>
                <a:ext uri="{FF2B5EF4-FFF2-40B4-BE49-F238E27FC236}">
                  <a16:creationId xmlns="" xmlns:a16="http://schemas.microsoft.com/office/drawing/2014/main" id="{9E62F61D-D92B-41BA-A312-5B516B66ACBC}"/>
                </a:ext>
              </a:extLst>
            </p:cNvPr>
            <p:cNvSpPr/>
            <p:nvPr/>
          </p:nvSpPr>
          <p:spPr bwMode="auto">
            <a:xfrm>
              <a:off x="3231059" y="4038600"/>
              <a:ext cx="1228725" cy="1143000"/>
            </a:xfrm>
            <a:custGeom>
              <a:avLst/>
              <a:gdLst>
                <a:gd name="connsiteX0" fmla="*/ 104775 w 1228725"/>
                <a:gd name="connsiteY0" fmla="*/ 57150 h 1143000"/>
                <a:gd name="connsiteX1" fmla="*/ 85725 w 1228725"/>
                <a:gd name="connsiteY1" fmla="*/ 180975 h 1143000"/>
                <a:gd name="connsiteX2" fmla="*/ 0 w 1228725"/>
                <a:gd name="connsiteY2" fmla="*/ 219075 h 1143000"/>
                <a:gd name="connsiteX3" fmla="*/ 19050 w 1228725"/>
                <a:gd name="connsiteY3" fmla="*/ 323850 h 1143000"/>
                <a:gd name="connsiteX4" fmla="*/ 152400 w 1228725"/>
                <a:gd name="connsiteY4" fmla="*/ 381000 h 1143000"/>
                <a:gd name="connsiteX5" fmla="*/ 161925 w 1228725"/>
                <a:gd name="connsiteY5" fmla="*/ 542925 h 1143000"/>
                <a:gd name="connsiteX6" fmla="*/ 238125 w 1228725"/>
                <a:gd name="connsiteY6" fmla="*/ 590550 h 1143000"/>
                <a:gd name="connsiteX7" fmla="*/ 523875 w 1228725"/>
                <a:gd name="connsiteY7" fmla="*/ 571500 h 1143000"/>
                <a:gd name="connsiteX8" fmla="*/ 542925 w 1228725"/>
                <a:gd name="connsiteY8" fmla="*/ 714375 h 1143000"/>
                <a:gd name="connsiteX9" fmla="*/ 657225 w 1228725"/>
                <a:gd name="connsiteY9" fmla="*/ 781050 h 1143000"/>
                <a:gd name="connsiteX10" fmla="*/ 657225 w 1228725"/>
                <a:gd name="connsiteY10" fmla="*/ 866775 h 1143000"/>
                <a:gd name="connsiteX11" fmla="*/ 733425 w 1228725"/>
                <a:gd name="connsiteY11" fmla="*/ 952500 h 1143000"/>
                <a:gd name="connsiteX12" fmla="*/ 895350 w 1228725"/>
                <a:gd name="connsiteY12" fmla="*/ 990600 h 1143000"/>
                <a:gd name="connsiteX13" fmla="*/ 1038225 w 1228725"/>
                <a:gd name="connsiteY13" fmla="*/ 1085850 h 1143000"/>
                <a:gd name="connsiteX14" fmla="*/ 1095375 w 1228725"/>
                <a:gd name="connsiteY14" fmla="*/ 1133475 h 1143000"/>
                <a:gd name="connsiteX15" fmla="*/ 1133475 w 1228725"/>
                <a:gd name="connsiteY15" fmla="*/ 1143000 h 1143000"/>
                <a:gd name="connsiteX16" fmla="*/ 1209675 w 1228725"/>
                <a:gd name="connsiteY16" fmla="*/ 1114425 h 1143000"/>
                <a:gd name="connsiteX17" fmla="*/ 1181100 w 1228725"/>
                <a:gd name="connsiteY17" fmla="*/ 1009650 h 1143000"/>
                <a:gd name="connsiteX18" fmla="*/ 1228725 w 1228725"/>
                <a:gd name="connsiteY18" fmla="*/ 942975 h 1143000"/>
                <a:gd name="connsiteX19" fmla="*/ 1228725 w 1228725"/>
                <a:gd name="connsiteY19" fmla="*/ 828675 h 1143000"/>
                <a:gd name="connsiteX20" fmla="*/ 1123950 w 1228725"/>
                <a:gd name="connsiteY20" fmla="*/ 771525 h 1143000"/>
                <a:gd name="connsiteX21" fmla="*/ 1038225 w 1228725"/>
                <a:gd name="connsiteY21" fmla="*/ 657225 h 1143000"/>
                <a:gd name="connsiteX22" fmla="*/ 885825 w 1228725"/>
                <a:gd name="connsiteY22" fmla="*/ 523875 h 1143000"/>
                <a:gd name="connsiteX23" fmla="*/ 742950 w 1228725"/>
                <a:gd name="connsiteY23" fmla="*/ 400050 h 1143000"/>
                <a:gd name="connsiteX24" fmla="*/ 819150 w 1228725"/>
                <a:gd name="connsiteY24" fmla="*/ 342900 h 1143000"/>
                <a:gd name="connsiteX25" fmla="*/ 781050 w 1228725"/>
                <a:gd name="connsiteY25" fmla="*/ 228600 h 1143000"/>
                <a:gd name="connsiteX26" fmla="*/ 695325 w 1228725"/>
                <a:gd name="connsiteY26" fmla="*/ 161925 h 1143000"/>
                <a:gd name="connsiteX27" fmla="*/ 657225 w 1228725"/>
                <a:gd name="connsiteY27" fmla="*/ 104775 h 1143000"/>
                <a:gd name="connsiteX28" fmla="*/ 571500 w 1228725"/>
                <a:gd name="connsiteY28" fmla="*/ 104775 h 1143000"/>
                <a:gd name="connsiteX29" fmla="*/ 371475 w 1228725"/>
                <a:gd name="connsiteY29" fmla="*/ 76200 h 1143000"/>
                <a:gd name="connsiteX30" fmla="*/ 257175 w 1228725"/>
                <a:gd name="connsiteY30" fmla="*/ 0 h 1143000"/>
                <a:gd name="connsiteX31" fmla="*/ 180975 w 1228725"/>
                <a:gd name="connsiteY31" fmla="*/ 9525 h 1143000"/>
                <a:gd name="connsiteX32" fmla="*/ 104775 w 1228725"/>
                <a:gd name="connsiteY32" fmla="*/ 5715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228725" h="1143000">
                  <a:moveTo>
                    <a:pt x="104775" y="57150"/>
                  </a:moveTo>
                  <a:lnTo>
                    <a:pt x="85725" y="180975"/>
                  </a:lnTo>
                  <a:lnTo>
                    <a:pt x="0" y="219075"/>
                  </a:lnTo>
                  <a:lnTo>
                    <a:pt x="19050" y="323850"/>
                  </a:lnTo>
                  <a:lnTo>
                    <a:pt x="152400" y="381000"/>
                  </a:lnTo>
                  <a:lnTo>
                    <a:pt x="161925" y="542925"/>
                  </a:lnTo>
                  <a:lnTo>
                    <a:pt x="238125" y="590550"/>
                  </a:lnTo>
                  <a:lnTo>
                    <a:pt x="523875" y="571500"/>
                  </a:lnTo>
                  <a:lnTo>
                    <a:pt x="542925" y="714375"/>
                  </a:lnTo>
                  <a:lnTo>
                    <a:pt x="657225" y="781050"/>
                  </a:lnTo>
                  <a:lnTo>
                    <a:pt x="657225" y="866775"/>
                  </a:lnTo>
                  <a:lnTo>
                    <a:pt x="733425" y="952500"/>
                  </a:lnTo>
                  <a:lnTo>
                    <a:pt x="895350" y="990600"/>
                  </a:lnTo>
                  <a:lnTo>
                    <a:pt x="1038225" y="1085850"/>
                  </a:lnTo>
                  <a:lnTo>
                    <a:pt x="1095375" y="1133475"/>
                  </a:lnTo>
                  <a:lnTo>
                    <a:pt x="1133475" y="1143000"/>
                  </a:lnTo>
                  <a:lnTo>
                    <a:pt x="1209675" y="1114425"/>
                  </a:lnTo>
                  <a:lnTo>
                    <a:pt x="1181100" y="1009650"/>
                  </a:lnTo>
                  <a:lnTo>
                    <a:pt x="1228725" y="942975"/>
                  </a:lnTo>
                  <a:lnTo>
                    <a:pt x="1228725" y="828675"/>
                  </a:lnTo>
                  <a:lnTo>
                    <a:pt x="1123950" y="771525"/>
                  </a:lnTo>
                  <a:lnTo>
                    <a:pt x="1038225" y="657225"/>
                  </a:lnTo>
                  <a:lnTo>
                    <a:pt x="885825" y="523875"/>
                  </a:lnTo>
                  <a:lnTo>
                    <a:pt x="742950" y="400050"/>
                  </a:lnTo>
                  <a:lnTo>
                    <a:pt x="819150" y="342900"/>
                  </a:lnTo>
                  <a:lnTo>
                    <a:pt x="781050" y="228600"/>
                  </a:lnTo>
                  <a:lnTo>
                    <a:pt x="695325" y="161925"/>
                  </a:lnTo>
                  <a:lnTo>
                    <a:pt x="657225" y="104775"/>
                  </a:lnTo>
                  <a:lnTo>
                    <a:pt x="571500" y="104775"/>
                  </a:lnTo>
                  <a:lnTo>
                    <a:pt x="371475" y="76200"/>
                  </a:lnTo>
                  <a:lnTo>
                    <a:pt x="257175" y="0"/>
                  </a:lnTo>
                  <a:lnTo>
                    <a:pt x="180975" y="9525"/>
                  </a:lnTo>
                  <a:lnTo>
                    <a:pt x="104775" y="571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39" name="Figura a mano libera: forma 338">
              <a:extLst>
                <a:ext uri="{FF2B5EF4-FFF2-40B4-BE49-F238E27FC236}">
                  <a16:creationId xmlns="" xmlns:a16="http://schemas.microsoft.com/office/drawing/2014/main" id="{F0293DF4-E0D0-45FA-9C15-C628EB177E2B}"/>
                </a:ext>
              </a:extLst>
            </p:cNvPr>
            <p:cNvSpPr/>
            <p:nvPr/>
          </p:nvSpPr>
          <p:spPr bwMode="auto">
            <a:xfrm>
              <a:off x="3573959" y="3886200"/>
              <a:ext cx="1409700" cy="1057275"/>
            </a:xfrm>
            <a:custGeom>
              <a:avLst/>
              <a:gdLst>
                <a:gd name="connsiteX0" fmla="*/ 66675 w 1409700"/>
                <a:gd name="connsiteY0" fmla="*/ 57150 h 1057275"/>
                <a:gd name="connsiteX1" fmla="*/ 0 w 1409700"/>
                <a:gd name="connsiteY1" fmla="*/ 180975 h 1057275"/>
                <a:gd name="connsiteX2" fmla="*/ 171450 w 1409700"/>
                <a:gd name="connsiteY2" fmla="*/ 295275 h 1057275"/>
                <a:gd name="connsiteX3" fmla="*/ 276225 w 1409700"/>
                <a:gd name="connsiteY3" fmla="*/ 352425 h 1057275"/>
                <a:gd name="connsiteX4" fmla="*/ 371475 w 1409700"/>
                <a:gd name="connsiteY4" fmla="*/ 495300 h 1057275"/>
                <a:gd name="connsiteX5" fmla="*/ 390525 w 1409700"/>
                <a:gd name="connsiteY5" fmla="*/ 590550 h 1057275"/>
                <a:gd name="connsiteX6" fmla="*/ 561975 w 1409700"/>
                <a:gd name="connsiteY6" fmla="*/ 695325 h 1057275"/>
                <a:gd name="connsiteX7" fmla="*/ 638175 w 1409700"/>
                <a:gd name="connsiteY7" fmla="*/ 838200 h 1057275"/>
                <a:gd name="connsiteX8" fmla="*/ 733425 w 1409700"/>
                <a:gd name="connsiteY8" fmla="*/ 971550 h 1057275"/>
                <a:gd name="connsiteX9" fmla="*/ 876300 w 1409700"/>
                <a:gd name="connsiteY9" fmla="*/ 1057275 h 1057275"/>
                <a:gd name="connsiteX10" fmla="*/ 838200 w 1409700"/>
                <a:gd name="connsiteY10" fmla="*/ 904875 h 1057275"/>
                <a:gd name="connsiteX11" fmla="*/ 809625 w 1409700"/>
                <a:gd name="connsiteY11" fmla="*/ 781050 h 1057275"/>
                <a:gd name="connsiteX12" fmla="*/ 809625 w 1409700"/>
                <a:gd name="connsiteY12" fmla="*/ 704850 h 1057275"/>
                <a:gd name="connsiteX13" fmla="*/ 904875 w 1409700"/>
                <a:gd name="connsiteY13" fmla="*/ 762000 h 1057275"/>
                <a:gd name="connsiteX14" fmla="*/ 962025 w 1409700"/>
                <a:gd name="connsiteY14" fmla="*/ 857250 h 1057275"/>
                <a:gd name="connsiteX15" fmla="*/ 1028700 w 1409700"/>
                <a:gd name="connsiteY15" fmla="*/ 885825 h 1057275"/>
                <a:gd name="connsiteX16" fmla="*/ 1162050 w 1409700"/>
                <a:gd name="connsiteY16" fmla="*/ 914400 h 1057275"/>
                <a:gd name="connsiteX17" fmla="*/ 1219200 w 1409700"/>
                <a:gd name="connsiteY17" fmla="*/ 914400 h 1057275"/>
                <a:gd name="connsiteX18" fmla="*/ 1238250 w 1409700"/>
                <a:gd name="connsiteY18" fmla="*/ 847725 h 1057275"/>
                <a:gd name="connsiteX19" fmla="*/ 1152525 w 1409700"/>
                <a:gd name="connsiteY19" fmla="*/ 762000 h 1057275"/>
                <a:gd name="connsiteX20" fmla="*/ 1209675 w 1409700"/>
                <a:gd name="connsiteY20" fmla="*/ 685800 h 1057275"/>
                <a:gd name="connsiteX21" fmla="*/ 1362075 w 1409700"/>
                <a:gd name="connsiteY21" fmla="*/ 742950 h 1057275"/>
                <a:gd name="connsiteX22" fmla="*/ 1409700 w 1409700"/>
                <a:gd name="connsiteY22" fmla="*/ 762000 h 1057275"/>
                <a:gd name="connsiteX23" fmla="*/ 1314450 w 1409700"/>
                <a:gd name="connsiteY23" fmla="*/ 600075 h 1057275"/>
                <a:gd name="connsiteX24" fmla="*/ 1362075 w 1409700"/>
                <a:gd name="connsiteY24" fmla="*/ 590550 h 1057275"/>
                <a:gd name="connsiteX25" fmla="*/ 714375 w 1409700"/>
                <a:gd name="connsiteY25" fmla="*/ 314325 h 1057275"/>
                <a:gd name="connsiteX26" fmla="*/ 609600 w 1409700"/>
                <a:gd name="connsiteY26" fmla="*/ 247650 h 1057275"/>
                <a:gd name="connsiteX27" fmla="*/ 476250 w 1409700"/>
                <a:gd name="connsiteY27" fmla="*/ 257175 h 1057275"/>
                <a:gd name="connsiteX28" fmla="*/ 323850 w 1409700"/>
                <a:gd name="connsiteY28" fmla="*/ 114300 h 1057275"/>
                <a:gd name="connsiteX29" fmla="*/ 228600 w 1409700"/>
                <a:gd name="connsiteY29" fmla="*/ 28575 h 1057275"/>
                <a:gd name="connsiteX30" fmla="*/ 190500 w 1409700"/>
                <a:gd name="connsiteY30" fmla="*/ 0 h 1057275"/>
                <a:gd name="connsiteX31" fmla="*/ 142875 w 1409700"/>
                <a:gd name="connsiteY31" fmla="*/ 47625 h 1057275"/>
                <a:gd name="connsiteX32" fmla="*/ 66675 w 1409700"/>
                <a:gd name="connsiteY32" fmla="*/ 57150 h 1057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409700" h="1057275">
                  <a:moveTo>
                    <a:pt x="66675" y="57150"/>
                  </a:moveTo>
                  <a:lnTo>
                    <a:pt x="0" y="180975"/>
                  </a:lnTo>
                  <a:lnTo>
                    <a:pt x="171450" y="295275"/>
                  </a:lnTo>
                  <a:lnTo>
                    <a:pt x="276225" y="352425"/>
                  </a:lnTo>
                  <a:lnTo>
                    <a:pt x="371475" y="495300"/>
                  </a:lnTo>
                  <a:lnTo>
                    <a:pt x="390525" y="590550"/>
                  </a:lnTo>
                  <a:lnTo>
                    <a:pt x="561975" y="695325"/>
                  </a:lnTo>
                  <a:lnTo>
                    <a:pt x="638175" y="838200"/>
                  </a:lnTo>
                  <a:lnTo>
                    <a:pt x="733425" y="971550"/>
                  </a:lnTo>
                  <a:lnTo>
                    <a:pt x="876300" y="1057275"/>
                  </a:lnTo>
                  <a:lnTo>
                    <a:pt x="838200" y="904875"/>
                  </a:lnTo>
                  <a:lnTo>
                    <a:pt x="809625" y="781050"/>
                  </a:lnTo>
                  <a:lnTo>
                    <a:pt x="809625" y="704850"/>
                  </a:lnTo>
                  <a:lnTo>
                    <a:pt x="904875" y="762000"/>
                  </a:lnTo>
                  <a:lnTo>
                    <a:pt x="962025" y="857250"/>
                  </a:lnTo>
                  <a:lnTo>
                    <a:pt x="1028700" y="885825"/>
                  </a:lnTo>
                  <a:lnTo>
                    <a:pt x="1162050" y="914400"/>
                  </a:lnTo>
                  <a:lnTo>
                    <a:pt x="1219200" y="914400"/>
                  </a:lnTo>
                  <a:lnTo>
                    <a:pt x="1238250" y="847725"/>
                  </a:lnTo>
                  <a:lnTo>
                    <a:pt x="1152525" y="762000"/>
                  </a:lnTo>
                  <a:lnTo>
                    <a:pt x="1209675" y="685800"/>
                  </a:lnTo>
                  <a:lnTo>
                    <a:pt x="1362075" y="742950"/>
                  </a:lnTo>
                  <a:lnTo>
                    <a:pt x="1409700" y="762000"/>
                  </a:lnTo>
                  <a:lnTo>
                    <a:pt x="1314450" y="600075"/>
                  </a:lnTo>
                  <a:lnTo>
                    <a:pt x="1362075" y="590550"/>
                  </a:lnTo>
                  <a:lnTo>
                    <a:pt x="714375" y="314325"/>
                  </a:lnTo>
                  <a:lnTo>
                    <a:pt x="609600" y="247650"/>
                  </a:lnTo>
                  <a:lnTo>
                    <a:pt x="476250" y="257175"/>
                  </a:lnTo>
                  <a:lnTo>
                    <a:pt x="323850" y="114300"/>
                  </a:lnTo>
                  <a:lnTo>
                    <a:pt x="228600" y="28575"/>
                  </a:lnTo>
                  <a:lnTo>
                    <a:pt x="190500" y="0"/>
                  </a:lnTo>
                  <a:lnTo>
                    <a:pt x="142875" y="47625"/>
                  </a:lnTo>
                  <a:lnTo>
                    <a:pt x="66675" y="571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0" name="Figura a mano libera: forma 339">
              <a:extLst>
                <a:ext uri="{FF2B5EF4-FFF2-40B4-BE49-F238E27FC236}">
                  <a16:creationId xmlns="" xmlns:a16="http://schemas.microsoft.com/office/drawing/2014/main" id="{01D1D8C2-C692-43CE-8F69-7339D9FA6273}"/>
                </a:ext>
              </a:extLst>
            </p:cNvPr>
            <p:cNvSpPr/>
            <p:nvPr/>
          </p:nvSpPr>
          <p:spPr bwMode="auto">
            <a:xfrm>
              <a:off x="4174034" y="3429000"/>
              <a:ext cx="2181225" cy="1104900"/>
            </a:xfrm>
            <a:custGeom>
              <a:avLst/>
              <a:gdLst>
                <a:gd name="connsiteX0" fmla="*/ 19050 w 2181225"/>
                <a:gd name="connsiteY0" fmla="*/ 628650 h 1104900"/>
                <a:gd name="connsiteX1" fmla="*/ 104775 w 2181225"/>
                <a:gd name="connsiteY1" fmla="*/ 800100 h 1104900"/>
                <a:gd name="connsiteX2" fmla="*/ 590550 w 2181225"/>
                <a:gd name="connsiteY2" fmla="*/ 1066800 h 1104900"/>
                <a:gd name="connsiteX3" fmla="*/ 781050 w 2181225"/>
                <a:gd name="connsiteY3" fmla="*/ 1076325 h 1104900"/>
                <a:gd name="connsiteX4" fmla="*/ 809625 w 2181225"/>
                <a:gd name="connsiteY4" fmla="*/ 885825 h 1104900"/>
                <a:gd name="connsiteX5" fmla="*/ 876300 w 2181225"/>
                <a:gd name="connsiteY5" fmla="*/ 990600 h 1104900"/>
                <a:gd name="connsiteX6" fmla="*/ 857250 w 2181225"/>
                <a:gd name="connsiteY6" fmla="*/ 914400 h 1104900"/>
                <a:gd name="connsiteX7" fmla="*/ 914400 w 2181225"/>
                <a:gd name="connsiteY7" fmla="*/ 857250 h 1104900"/>
                <a:gd name="connsiteX8" fmla="*/ 1009650 w 2181225"/>
                <a:gd name="connsiteY8" fmla="*/ 857250 h 1104900"/>
                <a:gd name="connsiteX9" fmla="*/ 1076325 w 2181225"/>
                <a:gd name="connsiteY9" fmla="*/ 933450 h 1104900"/>
                <a:gd name="connsiteX10" fmla="*/ 1181100 w 2181225"/>
                <a:gd name="connsiteY10" fmla="*/ 1000125 h 1104900"/>
                <a:gd name="connsiteX11" fmla="*/ 1333500 w 2181225"/>
                <a:gd name="connsiteY11" fmla="*/ 1000125 h 1104900"/>
                <a:gd name="connsiteX12" fmla="*/ 1409700 w 2181225"/>
                <a:gd name="connsiteY12" fmla="*/ 1028700 h 1104900"/>
                <a:gd name="connsiteX13" fmla="*/ 1485900 w 2181225"/>
                <a:gd name="connsiteY13" fmla="*/ 1104900 h 1104900"/>
                <a:gd name="connsiteX14" fmla="*/ 1600200 w 2181225"/>
                <a:gd name="connsiteY14" fmla="*/ 1095375 h 1104900"/>
                <a:gd name="connsiteX15" fmla="*/ 1552575 w 2181225"/>
                <a:gd name="connsiteY15" fmla="*/ 1000125 h 1104900"/>
                <a:gd name="connsiteX16" fmla="*/ 1438275 w 2181225"/>
                <a:gd name="connsiteY16" fmla="*/ 857250 h 1104900"/>
                <a:gd name="connsiteX17" fmla="*/ 1352550 w 2181225"/>
                <a:gd name="connsiteY17" fmla="*/ 714375 h 1104900"/>
                <a:gd name="connsiteX18" fmla="*/ 1219200 w 2181225"/>
                <a:gd name="connsiteY18" fmla="*/ 619125 h 1104900"/>
                <a:gd name="connsiteX19" fmla="*/ 1219200 w 2181225"/>
                <a:gd name="connsiteY19" fmla="*/ 466725 h 1104900"/>
                <a:gd name="connsiteX20" fmla="*/ 1419225 w 2181225"/>
                <a:gd name="connsiteY20" fmla="*/ 476250 h 1104900"/>
                <a:gd name="connsiteX21" fmla="*/ 1524000 w 2181225"/>
                <a:gd name="connsiteY21" fmla="*/ 476250 h 1104900"/>
                <a:gd name="connsiteX22" fmla="*/ 1600200 w 2181225"/>
                <a:gd name="connsiteY22" fmla="*/ 333375 h 1104900"/>
                <a:gd name="connsiteX23" fmla="*/ 1743075 w 2181225"/>
                <a:gd name="connsiteY23" fmla="*/ 323850 h 1104900"/>
                <a:gd name="connsiteX24" fmla="*/ 1924050 w 2181225"/>
                <a:gd name="connsiteY24" fmla="*/ 247650 h 1104900"/>
                <a:gd name="connsiteX25" fmla="*/ 2000250 w 2181225"/>
                <a:gd name="connsiteY25" fmla="*/ 323850 h 1104900"/>
                <a:gd name="connsiteX26" fmla="*/ 2152650 w 2181225"/>
                <a:gd name="connsiteY26" fmla="*/ 276225 h 1104900"/>
                <a:gd name="connsiteX27" fmla="*/ 2181225 w 2181225"/>
                <a:gd name="connsiteY27" fmla="*/ 161925 h 1104900"/>
                <a:gd name="connsiteX28" fmla="*/ 1876425 w 2181225"/>
                <a:gd name="connsiteY28" fmla="*/ 95250 h 1104900"/>
                <a:gd name="connsiteX29" fmla="*/ 1790700 w 2181225"/>
                <a:gd name="connsiteY29" fmla="*/ 47625 h 1104900"/>
                <a:gd name="connsiteX30" fmla="*/ 1704975 w 2181225"/>
                <a:gd name="connsiteY30" fmla="*/ 76200 h 1104900"/>
                <a:gd name="connsiteX31" fmla="*/ 1533525 w 2181225"/>
                <a:gd name="connsiteY31" fmla="*/ 0 h 1104900"/>
                <a:gd name="connsiteX32" fmla="*/ 1447800 w 2181225"/>
                <a:gd name="connsiteY32" fmla="*/ 47625 h 1104900"/>
                <a:gd name="connsiteX33" fmla="*/ 1400175 w 2181225"/>
                <a:gd name="connsiteY33" fmla="*/ 28575 h 1104900"/>
                <a:gd name="connsiteX34" fmla="*/ 1057275 w 2181225"/>
                <a:gd name="connsiteY34" fmla="*/ 0 h 1104900"/>
                <a:gd name="connsiteX35" fmla="*/ 1000125 w 2181225"/>
                <a:gd name="connsiteY35" fmla="*/ 57150 h 1104900"/>
                <a:gd name="connsiteX36" fmla="*/ 838200 w 2181225"/>
                <a:gd name="connsiteY36" fmla="*/ 142875 h 1104900"/>
                <a:gd name="connsiteX37" fmla="*/ 619125 w 2181225"/>
                <a:gd name="connsiteY37" fmla="*/ 142875 h 1104900"/>
                <a:gd name="connsiteX38" fmla="*/ 419100 w 2181225"/>
                <a:gd name="connsiteY38" fmla="*/ 142875 h 1104900"/>
                <a:gd name="connsiteX39" fmla="*/ 419100 w 2181225"/>
                <a:gd name="connsiteY39" fmla="*/ 314325 h 1104900"/>
                <a:gd name="connsiteX40" fmla="*/ 419100 w 2181225"/>
                <a:gd name="connsiteY40" fmla="*/ 504825 h 1104900"/>
                <a:gd name="connsiteX41" fmla="*/ 304800 w 2181225"/>
                <a:gd name="connsiteY41" fmla="*/ 571500 h 1104900"/>
                <a:gd name="connsiteX42" fmla="*/ 228600 w 2181225"/>
                <a:gd name="connsiteY42" fmla="*/ 600075 h 1104900"/>
                <a:gd name="connsiteX43" fmla="*/ 114300 w 2181225"/>
                <a:gd name="connsiteY43" fmla="*/ 628650 h 1104900"/>
                <a:gd name="connsiteX44" fmla="*/ 0 w 2181225"/>
                <a:gd name="connsiteY44" fmla="*/ 676275 h 1104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181225" h="1104900">
                  <a:moveTo>
                    <a:pt x="19050" y="628650"/>
                  </a:moveTo>
                  <a:lnTo>
                    <a:pt x="104775" y="800100"/>
                  </a:lnTo>
                  <a:lnTo>
                    <a:pt x="590550" y="1066800"/>
                  </a:lnTo>
                  <a:lnTo>
                    <a:pt x="781050" y="1076325"/>
                  </a:lnTo>
                  <a:lnTo>
                    <a:pt x="809625" y="885825"/>
                  </a:lnTo>
                  <a:lnTo>
                    <a:pt x="876300" y="990600"/>
                  </a:lnTo>
                  <a:lnTo>
                    <a:pt x="857250" y="914400"/>
                  </a:lnTo>
                  <a:lnTo>
                    <a:pt x="914400" y="857250"/>
                  </a:lnTo>
                  <a:lnTo>
                    <a:pt x="1009650" y="857250"/>
                  </a:lnTo>
                  <a:lnTo>
                    <a:pt x="1076325" y="933450"/>
                  </a:lnTo>
                  <a:lnTo>
                    <a:pt x="1181100" y="1000125"/>
                  </a:lnTo>
                  <a:lnTo>
                    <a:pt x="1333500" y="1000125"/>
                  </a:lnTo>
                  <a:lnTo>
                    <a:pt x="1409700" y="1028700"/>
                  </a:lnTo>
                  <a:lnTo>
                    <a:pt x="1485900" y="1104900"/>
                  </a:lnTo>
                  <a:lnTo>
                    <a:pt x="1600200" y="1095375"/>
                  </a:lnTo>
                  <a:lnTo>
                    <a:pt x="1552575" y="1000125"/>
                  </a:lnTo>
                  <a:lnTo>
                    <a:pt x="1438275" y="857250"/>
                  </a:lnTo>
                  <a:lnTo>
                    <a:pt x="1352550" y="714375"/>
                  </a:lnTo>
                  <a:lnTo>
                    <a:pt x="1219200" y="619125"/>
                  </a:lnTo>
                  <a:lnTo>
                    <a:pt x="1219200" y="466725"/>
                  </a:lnTo>
                  <a:lnTo>
                    <a:pt x="1419225" y="476250"/>
                  </a:lnTo>
                  <a:lnTo>
                    <a:pt x="1524000" y="476250"/>
                  </a:lnTo>
                  <a:lnTo>
                    <a:pt x="1600200" y="333375"/>
                  </a:lnTo>
                  <a:lnTo>
                    <a:pt x="1743075" y="323850"/>
                  </a:lnTo>
                  <a:lnTo>
                    <a:pt x="1924050" y="247650"/>
                  </a:lnTo>
                  <a:lnTo>
                    <a:pt x="2000250" y="323850"/>
                  </a:lnTo>
                  <a:lnTo>
                    <a:pt x="2152650" y="276225"/>
                  </a:lnTo>
                  <a:lnTo>
                    <a:pt x="2181225" y="161925"/>
                  </a:lnTo>
                  <a:lnTo>
                    <a:pt x="1876425" y="95250"/>
                  </a:lnTo>
                  <a:lnTo>
                    <a:pt x="1790700" y="47625"/>
                  </a:lnTo>
                  <a:lnTo>
                    <a:pt x="1704975" y="76200"/>
                  </a:lnTo>
                  <a:lnTo>
                    <a:pt x="1533525" y="0"/>
                  </a:lnTo>
                  <a:lnTo>
                    <a:pt x="1447800" y="47625"/>
                  </a:lnTo>
                  <a:lnTo>
                    <a:pt x="1400175" y="28575"/>
                  </a:lnTo>
                  <a:lnTo>
                    <a:pt x="1057275" y="0"/>
                  </a:lnTo>
                  <a:lnTo>
                    <a:pt x="1000125" y="57150"/>
                  </a:lnTo>
                  <a:lnTo>
                    <a:pt x="838200" y="142875"/>
                  </a:lnTo>
                  <a:lnTo>
                    <a:pt x="619125" y="142875"/>
                  </a:lnTo>
                  <a:lnTo>
                    <a:pt x="419100" y="142875"/>
                  </a:lnTo>
                  <a:lnTo>
                    <a:pt x="419100" y="314325"/>
                  </a:lnTo>
                  <a:lnTo>
                    <a:pt x="419100" y="504825"/>
                  </a:lnTo>
                  <a:lnTo>
                    <a:pt x="304800" y="571500"/>
                  </a:lnTo>
                  <a:lnTo>
                    <a:pt x="228600" y="600075"/>
                  </a:lnTo>
                  <a:lnTo>
                    <a:pt x="114300" y="628650"/>
                  </a:lnTo>
                  <a:lnTo>
                    <a:pt x="0" y="676275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/>
            </a:p>
          </p:txBody>
        </p:sp>
        <p:sp>
          <p:nvSpPr>
            <p:cNvPr id="341" name="Figura a mano libera: forma 340">
              <a:extLst>
                <a:ext uri="{FF2B5EF4-FFF2-40B4-BE49-F238E27FC236}">
                  <a16:creationId xmlns="" xmlns:a16="http://schemas.microsoft.com/office/drawing/2014/main" id="{19F51F47-3EAF-409B-882D-4AB49C078824}"/>
                </a:ext>
              </a:extLst>
            </p:cNvPr>
            <p:cNvSpPr/>
            <p:nvPr/>
          </p:nvSpPr>
          <p:spPr bwMode="auto">
            <a:xfrm>
              <a:off x="3745409" y="3514725"/>
              <a:ext cx="942975" cy="666750"/>
            </a:xfrm>
            <a:custGeom>
              <a:avLst/>
              <a:gdLst>
                <a:gd name="connsiteX0" fmla="*/ 0 w 942975"/>
                <a:gd name="connsiteY0" fmla="*/ 390525 h 666750"/>
                <a:gd name="connsiteX1" fmla="*/ 104775 w 942975"/>
                <a:gd name="connsiteY1" fmla="*/ 466725 h 666750"/>
                <a:gd name="connsiteX2" fmla="*/ 142875 w 942975"/>
                <a:gd name="connsiteY2" fmla="*/ 523875 h 666750"/>
                <a:gd name="connsiteX3" fmla="*/ 342900 w 942975"/>
                <a:gd name="connsiteY3" fmla="*/ 666750 h 666750"/>
                <a:gd name="connsiteX4" fmla="*/ 533400 w 942975"/>
                <a:gd name="connsiteY4" fmla="*/ 657225 h 666750"/>
                <a:gd name="connsiteX5" fmla="*/ 552450 w 942975"/>
                <a:gd name="connsiteY5" fmla="*/ 581025 h 666750"/>
                <a:gd name="connsiteX6" fmla="*/ 657225 w 942975"/>
                <a:gd name="connsiteY6" fmla="*/ 609600 h 666750"/>
                <a:gd name="connsiteX7" fmla="*/ 838200 w 942975"/>
                <a:gd name="connsiteY7" fmla="*/ 571500 h 666750"/>
                <a:gd name="connsiteX8" fmla="*/ 942975 w 942975"/>
                <a:gd name="connsiteY8" fmla="*/ 419100 h 666750"/>
                <a:gd name="connsiteX9" fmla="*/ 942975 w 942975"/>
                <a:gd name="connsiteY9" fmla="*/ 209550 h 666750"/>
                <a:gd name="connsiteX10" fmla="*/ 942975 w 942975"/>
                <a:gd name="connsiteY10" fmla="*/ 47625 h 666750"/>
                <a:gd name="connsiteX11" fmla="*/ 866775 w 942975"/>
                <a:gd name="connsiteY11" fmla="*/ 0 h 666750"/>
                <a:gd name="connsiteX12" fmla="*/ 723900 w 942975"/>
                <a:gd name="connsiteY12" fmla="*/ 123825 h 666750"/>
                <a:gd name="connsiteX13" fmla="*/ 628650 w 942975"/>
                <a:gd name="connsiteY13" fmla="*/ 104775 h 666750"/>
                <a:gd name="connsiteX14" fmla="*/ 571500 w 942975"/>
                <a:gd name="connsiteY14" fmla="*/ 180975 h 666750"/>
                <a:gd name="connsiteX15" fmla="*/ 457200 w 942975"/>
                <a:gd name="connsiteY15" fmla="*/ 247650 h 666750"/>
                <a:gd name="connsiteX16" fmla="*/ 276225 w 942975"/>
                <a:gd name="connsiteY16" fmla="*/ 247650 h 666750"/>
                <a:gd name="connsiteX17" fmla="*/ 142875 w 942975"/>
                <a:gd name="connsiteY17" fmla="*/ 285750 h 666750"/>
                <a:gd name="connsiteX18" fmla="*/ 0 w 942975"/>
                <a:gd name="connsiteY18" fmla="*/ 390525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42975" h="666750">
                  <a:moveTo>
                    <a:pt x="0" y="390525"/>
                  </a:moveTo>
                  <a:lnTo>
                    <a:pt x="104775" y="466725"/>
                  </a:lnTo>
                  <a:lnTo>
                    <a:pt x="142875" y="523875"/>
                  </a:lnTo>
                  <a:lnTo>
                    <a:pt x="342900" y="666750"/>
                  </a:lnTo>
                  <a:lnTo>
                    <a:pt x="533400" y="657225"/>
                  </a:lnTo>
                  <a:lnTo>
                    <a:pt x="552450" y="581025"/>
                  </a:lnTo>
                  <a:lnTo>
                    <a:pt x="657225" y="609600"/>
                  </a:lnTo>
                  <a:lnTo>
                    <a:pt x="838200" y="571500"/>
                  </a:lnTo>
                  <a:lnTo>
                    <a:pt x="942975" y="419100"/>
                  </a:lnTo>
                  <a:lnTo>
                    <a:pt x="942975" y="209550"/>
                  </a:lnTo>
                  <a:lnTo>
                    <a:pt x="942975" y="47625"/>
                  </a:lnTo>
                  <a:lnTo>
                    <a:pt x="866775" y="0"/>
                  </a:lnTo>
                  <a:lnTo>
                    <a:pt x="723900" y="123825"/>
                  </a:lnTo>
                  <a:lnTo>
                    <a:pt x="628650" y="104775"/>
                  </a:lnTo>
                  <a:lnTo>
                    <a:pt x="571500" y="180975"/>
                  </a:lnTo>
                  <a:lnTo>
                    <a:pt x="457200" y="247650"/>
                  </a:lnTo>
                  <a:lnTo>
                    <a:pt x="276225" y="247650"/>
                  </a:lnTo>
                  <a:lnTo>
                    <a:pt x="142875" y="285750"/>
                  </a:lnTo>
                  <a:lnTo>
                    <a:pt x="0" y="390525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2" name="Figura a mano libera: forma 341">
              <a:extLst>
                <a:ext uri="{FF2B5EF4-FFF2-40B4-BE49-F238E27FC236}">
                  <a16:creationId xmlns="" xmlns:a16="http://schemas.microsoft.com/office/drawing/2014/main" id="{175583CA-42A7-4D36-BB53-4B2E5968161C}"/>
                </a:ext>
              </a:extLst>
            </p:cNvPr>
            <p:cNvSpPr/>
            <p:nvPr/>
          </p:nvSpPr>
          <p:spPr bwMode="auto">
            <a:xfrm>
              <a:off x="3812084" y="3000375"/>
              <a:ext cx="1266825" cy="847726"/>
            </a:xfrm>
            <a:custGeom>
              <a:avLst/>
              <a:gdLst>
                <a:gd name="connsiteX0" fmla="*/ 0 w 1266825"/>
                <a:gd name="connsiteY0" fmla="*/ 409575 h 790575"/>
                <a:gd name="connsiteX1" fmla="*/ 38100 w 1266825"/>
                <a:gd name="connsiteY1" fmla="*/ 609600 h 790575"/>
                <a:gd name="connsiteX2" fmla="*/ 66675 w 1266825"/>
                <a:gd name="connsiteY2" fmla="*/ 781050 h 790575"/>
                <a:gd name="connsiteX3" fmla="*/ 209550 w 1266825"/>
                <a:gd name="connsiteY3" fmla="*/ 790575 h 790575"/>
                <a:gd name="connsiteX4" fmla="*/ 428625 w 1266825"/>
                <a:gd name="connsiteY4" fmla="*/ 752475 h 790575"/>
                <a:gd name="connsiteX5" fmla="*/ 552450 w 1266825"/>
                <a:gd name="connsiteY5" fmla="*/ 695325 h 790575"/>
                <a:gd name="connsiteX6" fmla="*/ 581025 w 1266825"/>
                <a:gd name="connsiteY6" fmla="*/ 638175 h 790575"/>
                <a:gd name="connsiteX7" fmla="*/ 742950 w 1266825"/>
                <a:gd name="connsiteY7" fmla="*/ 609600 h 790575"/>
                <a:gd name="connsiteX8" fmla="*/ 923925 w 1266825"/>
                <a:gd name="connsiteY8" fmla="*/ 495300 h 790575"/>
                <a:gd name="connsiteX9" fmla="*/ 1076325 w 1266825"/>
                <a:gd name="connsiteY9" fmla="*/ 495300 h 790575"/>
                <a:gd name="connsiteX10" fmla="*/ 1238250 w 1266825"/>
                <a:gd name="connsiteY10" fmla="*/ 504825 h 790575"/>
                <a:gd name="connsiteX11" fmla="*/ 1266825 w 1266825"/>
                <a:gd name="connsiteY11" fmla="*/ 428625 h 790575"/>
                <a:gd name="connsiteX12" fmla="*/ 1266825 w 1266825"/>
                <a:gd name="connsiteY12" fmla="*/ 428625 h 790575"/>
                <a:gd name="connsiteX13" fmla="*/ 1171575 w 1266825"/>
                <a:gd name="connsiteY13" fmla="*/ 238125 h 790575"/>
                <a:gd name="connsiteX14" fmla="*/ 1114425 w 1266825"/>
                <a:gd name="connsiteY14" fmla="*/ 219075 h 790575"/>
                <a:gd name="connsiteX15" fmla="*/ 1076325 w 1266825"/>
                <a:gd name="connsiteY15" fmla="*/ 123825 h 790575"/>
                <a:gd name="connsiteX16" fmla="*/ 990600 w 1266825"/>
                <a:gd name="connsiteY16" fmla="*/ 28575 h 790575"/>
                <a:gd name="connsiteX17" fmla="*/ 819150 w 1266825"/>
                <a:gd name="connsiteY17" fmla="*/ 0 h 790575"/>
                <a:gd name="connsiteX0" fmla="*/ 0 w 1266825"/>
                <a:gd name="connsiteY0" fmla="*/ 381000 h 762000"/>
                <a:gd name="connsiteX1" fmla="*/ 38100 w 1266825"/>
                <a:gd name="connsiteY1" fmla="*/ 581025 h 762000"/>
                <a:gd name="connsiteX2" fmla="*/ 66675 w 1266825"/>
                <a:gd name="connsiteY2" fmla="*/ 752475 h 762000"/>
                <a:gd name="connsiteX3" fmla="*/ 209550 w 1266825"/>
                <a:gd name="connsiteY3" fmla="*/ 762000 h 762000"/>
                <a:gd name="connsiteX4" fmla="*/ 428625 w 1266825"/>
                <a:gd name="connsiteY4" fmla="*/ 723900 h 762000"/>
                <a:gd name="connsiteX5" fmla="*/ 552450 w 1266825"/>
                <a:gd name="connsiteY5" fmla="*/ 666750 h 762000"/>
                <a:gd name="connsiteX6" fmla="*/ 581025 w 1266825"/>
                <a:gd name="connsiteY6" fmla="*/ 609600 h 762000"/>
                <a:gd name="connsiteX7" fmla="*/ 742950 w 1266825"/>
                <a:gd name="connsiteY7" fmla="*/ 581025 h 762000"/>
                <a:gd name="connsiteX8" fmla="*/ 923925 w 1266825"/>
                <a:gd name="connsiteY8" fmla="*/ 466725 h 762000"/>
                <a:gd name="connsiteX9" fmla="*/ 1076325 w 1266825"/>
                <a:gd name="connsiteY9" fmla="*/ 466725 h 762000"/>
                <a:gd name="connsiteX10" fmla="*/ 1238250 w 1266825"/>
                <a:gd name="connsiteY10" fmla="*/ 476250 h 762000"/>
                <a:gd name="connsiteX11" fmla="*/ 1266825 w 1266825"/>
                <a:gd name="connsiteY11" fmla="*/ 400050 h 762000"/>
                <a:gd name="connsiteX12" fmla="*/ 1266825 w 1266825"/>
                <a:gd name="connsiteY12" fmla="*/ 400050 h 762000"/>
                <a:gd name="connsiteX13" fmla="*/ 1171575 w 1266825"/>
                <a:gd name="connsiteY13" fmla="*/ 209550 h 762000"/>
                <a:gd name="connsiteX14" fmla="*/ 1114425 w 1266825"/>
                <a:gd name="connsiteY14" fmla="*/ 190500 h 762000"/>
                <a:gd name="connsiteX15" fmla="*/ 1076325 w 1266825"/>
                <a:gd name="connsiteY15" fmla="*/ 95250 h 762000"/>
                <a:gd name="connsiteX16" fmla="*/ 990600 w 1266825"/>
                <a:gd name="connsiteY16" fmla="*/ 0 h 762000"/>
                <a:gd name="connsiteX17" fmla="*/ 28575 w 1266825"/>
                <a:gd name="connsiteY17" fmla="*/ 381000 h 762000"/>
                <a:gd name="connsiteX0" fmla="*/ 0 w 1266825"/>
                <a:gd name="connsiteY0" fmla="*/ 381000 h 762000"/>
                <a:gd name="connsiteX1" fmla="*/ 38100 w 1266825"/>
                <a:gd name="connsiteY1" fmla="*/ 581025 h 762000"/>
                <a:gd name="connsiteX2" fmla="*/ 66675 w 1266825"/>
                <a:gd name="connsiteY2" fmla="*/ 752475 h 762000"/>
                <a:gd name="connsiteX3" fmla="*/ 209550 w 1266825"/>
                <a:gd name="connsiteY3" fmla="*/ 762000 h 762000"/>
                <a:gd name="connsiteX4" fmla="*/ 428625 w 1266825"/>
                <a:gd name="connsiteY4" fmla="*/ 723900 h 762000"/>
                <a:gd name="connsiteX5" fmla="*/ 552450 w 1266825"/>
                <a:gd name="connsiteY5" fmla="*/ 666750 h 762000"/>
                <a:gd name="connsiteX6" fmla="*/ 581025 w 1266825"/>
                <a:gd name="connsiteY6" fmla="*/ 609600 h 762000"/>
                <a:gd name="connsiteX7" fmla="*/ 742950 w 1266825"/>
                <a:gd name="connsiteY7" fmla="*/ 581025 h 762000"/>
                <a:gd name="connsiteX8" fmla="*/ 923925 w 1266825"/>
                <a:gd name="connsiteY8" fmla="*/ 466725 h 762000"/>
                <a:gd name="connsiteX9" fmla="*/ 1076325 w 1266825"/>
                <a:gd name="connsiteY9" fmla="*/ 466725 h 762000"/>
                <a:gd name="connsiteX10" fmla="*/ 1238250 w 1266825"/>
                <a:gd name="connsiteY10" fmla="*/ 476250 h 762000"/>
                <a:gd name="connsiteX11" fmla="*/ 1266825 w 1266825"/>
                <a:gd name="connsiteY11" fmla="*/ 400050 h 762000"/>
                <a:gd name="connsiteX12" fmla="*/ 1266825 w 1266825"/>
                <a:gd name="connsiteY12" fmla="*/ 400050 h 762000"/>
                <a:gd name="connsiteX13" fmla="*/ 1171575 w 1266825"/>
                <a:gd name="connsiteY13" fmla="*/ 209550 h 762000"/>
                <a:gd name="connsiteX14" fmla="*/ 1114425 w 1266825"/>
                <a:gd name="connsiteY14" fmla="*/ 190500 h 762000"/>
                <a:gd name="connsiteX15" fmla="*/ 1076325 w 1266825"/>
                <a:gd name="connsiteY15" fmla="*/ 95250 h 762000"/>
                <a:gd name="connsiteX16" fmla="*/ 990600 w 1266825"/>
                <a:gd name="connsiteY16" fmla="*/ 0 h 762000"/>
                <a:gd name="connsiteX17" fmla="*/ 161925 w 1266825"/>
                <a:gd name="connsiteY17" fmla="*/ 400049 h 762000"/>
                <a:gd name="connsiteX18" fmla="*/ 28575 w 1266825"/>
                <a:gd name="connsiteY18" fmla="*/ 381000 h 762000"/>
                <a:gd name="connsiteX0" fmla="*/ 0 w 1266825"/>
                <a:gd name="connsiteY0" fmla="*/ 381000 h 762000"/>
                <a:gd name="connsiteX1" fmla="*/ 38100 w 1266825"/>
                <a:gd name="connsiteY1" fmla="*/ 581025 h 762000"/>
                <a:gd name="connsiteX2" fmla="*/ 66675 w 1266825"/>
                <a:gd name="connsiteY2" fmla="*/ 752475 h 762000"/>
                <a:gd name="connsiteX3" fmla="*/ 209550 w 1266825"/>
                <a:gd name="connsiteY3" fmla="*/ 762000 h 762000"/>
                <a:gd name="connsiteX4" fmla="*/ 428625 w 1266825"/>
                <a:gd name="connsiteY4" fmla="*/ 723900 h 762000"/>
                <a:gd name="connsiteX5" fmla="*/ 552450 w 1266825"/>
                <a:gd name="connsiteY5" fmla="*/ 666750 h 762000"/>
                <a:gd name="connsiteX6" fmla="*/ 581025 w 1266825"/>
                <a:gd name="connsiteY6" fmla="*/ 609600 h 762000"/>
                <a:gd name="connsiteX7" fmla="*/ 742950 w 1266825"/>
                <a:gd name="connsiteY7" fmla="*/ 581025 h 762000"/>
                <a:gd name="connsiteX8" fmla="*/ 923925 w 1266825"/>
                <a:gd name="connsiteY8" fmla="*/ 466725 h 762000"/>
                <a:gd name="connsiteX9" fmla="*/ 1076325 w 1266825"/>
                <a:gd name="connsiteY9" fmla="*/ 466725 h 762000"/>
                <a:gd name="connsiteX10" fmla="*/ 1238250 w 1266825"/>
                <a:gd name="connsiteY10" fmla="*/ 476250 h 762000"/>
                <a:gd name="connsiteX11" fmla="*/ 1266825 w 1266825"/>
                <a:gd name="connsiteY11" fmla="*/ 400050 h 762000"/>
                <a:gd name="connsiteX12" fmla="*/ 1266825 w 1266825"/>
                <a:gd name="connsiteY12" fmla="*/ 400050 h 762000"/>
                <a:gd name="connsiteX13" fmla="*/ 1171575 w 1266825"/>
                <a:gd name="connsiteY13" fmla="*/ 209550 h 762000"/>
                <a:gd name="connsiteX14" fmla="*/ 1114425 w 1266825"/>
                <a:gd name="connsiteY14" fmla="*/ 190500 h 762000"/>
                <a:gd name="connsiteX15" fmla="*/ 1076325 w 1266825"/>
                <a:gd name="connsiteY15" fmla="*/ 95250 h 762000"/>
                <a:gd name="connsiteX16" fmla="*/ 990600 w 1266825"/>
                <a:gd name="connsiteY16" fmla="*/ 0 h 762000"/>
                <a:gd name="connsiteX17" fmla="*/ 161925 w 1266825"/>
                <a:gd name="connsiteY17" fmla="*/ 304799 h 762000"/>
                <a:gd name="connsiteX18" fmla="*/ 161925 w 1266825"/>
                <a:gd name="connsiteY18" fmla="*/ 400049 h 762000"/>
                <a:gd name="connsiteX19" fmla="*/ 28575 w 1266825"/>
                <a:gd name="connsiteY19" fmla="*/ 381000 h 762000"/>
                <a:gd name="connsiteX0" fmla="*/ 0 w 1266825"/>
                <a:gd name="connsiteY0" fmla="*/ 479127 h 860127"/>
                <a:gd name="connsiteX1" fmla="*/ 38100 w 1266825"/>
                <a:gd name="connsiteY1" fmla="*/ 679152 h 860127"/>
                <a:gd name="connsiteX2" fmla="*/ 66675 w 1266825"/>
                <a:gd name="connsiteY2" fmla="*/ 850602 h 860127"/>
                <a:gd name="connsiteX3" fmla="*/ 209550 w 1266825"/>
                <a:gd name="connsiteY3" fmla="*/ 860127 h 860127"/>
                <a:gd name="connsiteX4" fmla="*/ 428625 w 1266825"/>
                <a:gd name="connsiteY4" fmla="*/ 822027 h 860127"/>
                <a:gd name="connsiteX5" fmla="*/ 552450 w 1266825"/>
                <a:gd name="connsiteY5" fmla="*/ 764877 h 860127"/>
                <a:gd name="connsiteX6" fmla="*/ 581025 w 1266825"/>
                <a:gd name="connsiteY6" fmla="*/ 707727 h 860127"/>
                <a:gd name="connsiteX7" fmla="*/ 742950 w 1266825"/>
                <a:gd name="connsiteY7" fmla="*/ 679152 h 860127"/>
                <a:gd name="connsiteX8" fmla="*/ 923925 w 1266825"/>
                <a:gd name="connsiteY8" fmla="*/ 564852 h 860127"/>
                <a:gd name="connsiteX9" fmla="*/ 1076325 w 1266825"/>
                <a:gd name="connsiteY9" fmla="*/ 564852 h 860127"/>
                <a:gd name="connsiteX10" fmla="*/ 1238250 w 1266825"/>
                <a:gd name="connsiteY10" fmla="*/ 574377 h 860127"/>
                <a:gd name="connsiteX11" fmla="*/ 1266825 w 1266825"/>
                <a:gd name="connsiteY11" fmla="*/ 498177 h 860127"/>
                <a:gd name="connsiteX12" fmla="*/ 1266825 w 1266825"/>
                <a:gd name="connsiteY12" fmla="*/ 498177 h 860127"/>
                <a:gd name="connsiteX13" fmla="*/ 1171575 w 1266825"/>
                <a:gd name="connsiteY13" fmla="*/ 307677 h 860127"/>
                <a:gd name="connsiteX14" fmla="*/ 1114425 w 1266825"/>
                <a:gd name="connsiteY14" fmla="*/ 288627 h 860127"/>
                <a:gd name="connsiteX15" fmla="*/ 1076325 w 1266825"/>
                <a:gd name="connsiteY15" fmla="*/ 193377 h 860127"/>
                <a:gd name="connsiteX16" fmla="*/ 990600 w 1266825"/>
                <a:gd name="connsiteY16" fmla="*/ 98127 h 860127"/>
                <a:gd name="connsiteX17" fmla="*/ 809625 w 1266825"/>
                <a:gd name="connsiteY17" fmla="*/ 12401 h 860127"/>
                <a:gd name="connsiteX18" fmla="*/ 161925 w 1266825"/>
                <a:gd name="connsiteY18" fmla="*/ 402926 h 860127"/>
                <a:gd name="connsiteX19" fmla="*/ 161925 w 1266825"/>
                <a:gd name="connsiteY19" fmla="*/ 498176 h 860127"/>
                <a:gd name="connsiteX20" fmla="*/ 28575 w 1266825"/>
                <a:gd name="connsiteY20" fmla="*/ 479127 h 860127"/>
                <a:gd name="connsiteX0" fmla="*/ 0 w 1266825"/>
                <a:gd name="connsiteY0" fmla="*/ 475436 h 856436"/>
                <a:gd name="connsiteX1" fmla="*/ 38100 w 1266825"/>
                <a:gd name="connsiteY1" fmla="*/ 675461 h 856436"/>
                <a:gd name="connsiteX2" fmla="*/ 66675 w 1266825"/>
                <a:gd name="connsiteY2" fmla="*/ 846911 h 856436"/>
                <a:gd name="connsiteX3" fmla="*/ 209550 w 1266825"/>
                <a:gd name="connsiteY3" fmla="*/ 856436 h 856436"/>
                <a:gd name="connsiteX4" fmla="*/ 428625 w 1266825"/>
                <a:gd name="connsiteY4" fmla="*/ 818336 h 856436"/>
                <a:gd name="connsiteX5" fmla="*/ 552450 w 1266825"/>
                <a:gd name="connsiteY5" fmla="*/ 761186 h 856436"/>
                <a:gd name="connsiteX6" fmla="*/ 581025 w 1266825"/>
                <a:gd name="connsiteY6" fmla="*/ 704036 h 856436"/>
                <a:gd name="connsiteX7" fmla="*/ 742950 w 1266825"/>
                <a:gd name="connsiteY7" fmla="*/ 675461 h 856436"/>
                <a:gd name="connsiteX8" fmla="*/ 923925 w 1266825"/>
                <a:gd name="connsiteY8" fmla="*/ 561161 h 856436"/>
                <a:gd name="connsiteX9" fmla="*/ 1076325 w 1266825"/>
                <a:gd name="connsiteY9" fmla="*/ 561161 h 856436"/>
                <a:gd name="connsiteX10" fmla="*/ 1238250 w 1266825"/>
                <a:gd name="connsiteY10" fmla="*/ 570686 h 856436"/>
                <a:gd name="connsiteX11" fmla="*/ 1266825 w 1266825"/>
                <a:gd name="connsiteY11" fmla="*/ 494486 h 856436"/>
                <a:gd name="connsiteX12" fmla="*/ 1266825 w 1266825"/>
                <a:gd name="connsiteY12" fmla="*/ 494486 h 856436"/>
                <a:gd name="connsiteX13" fmla="*/ 1171575 w 1266825"/>
                <a:gd name="connsiteY13" fmla="*/ 303986 h 856436"/>
                <a:gd name="connsiteX14" fmla="*/ 1114425 w 1266825"/>
                <a:gd name="connsiteY14" fmla="*/ 284936 h 856436"/>
                <a:gd name="connsiteX15" fmla="*/ 1076325 w 1266825"/>
                <a:gd name="connsiteY15" fmla="*/ 189686 h 856436"/>
                <a:gd name="connsiteX16" fmla="*/ 885825 w 1266825"/>
                <a:gd name="connsiteY16" fmla="*/ 161111 h 856436"/>
                <a:gd name="connsiteX17" fmla="*/ 809625 w 1266825"/>
                <a:gd name="connsiteY17" fmla="*/ 8710 h 856436"/>
                <a:gd name="connsiteX18" fmla="*/ 161925 w 1266825"/>
                <a:gd name="connsiteY18" fmla="*/ 399235 h 856436"/>
                <a:gd name="connsiteX19" fmla="*/ 161925 w 1266825"/>
                <a:gd name="connsiteY19" fmla="*/ 494485 h 856436"/>
                <a:gd name="connsiteX20" fmla="*/ 28575 w 1266825"/>
                <a:gd name="connsiteY20" fmla="*/ 475436 h 856436"/>
                <a:gd name="connsiteX0" fmla="*/ 0 w 1266825"/>
                <a:gd name="connsiteY0" fmla="*/ 466726 h 847726"/>
                <a:gd name="connsiteX1" fmla="*/ 38100 w 1266825"/>
                <a:gd name="connsiteY1" fmla="*/ 666751 h 847726"/>
                <a:gd name="connsiteX2" fmla="*/ 66675 w 1266825"/>
                <a:gd name="connsiteY2" fmla="*/ 838201 h 847726"/>
                <a:gd name="connsiteX3" fmla="*/ 209550 w 1266825"/>
                <a:gd name="connsiteY3" fmla="*/ 847726 h 847726"/>
                <a:gd name="connsiteX4" fmla="*/ 428625 w 1266825"/>
                <a:gd name="connsiteY4" fmla="*/ 809626 h 847726"/>
                <a:gd name="connsiteX5" fmla="*/ 552450 w 1266825"/>
                <a:gd name="connsiteY5" fmla="*/ 752476 h 847726"/>
                <a:gd name="connsiteX6" fmla="*/ 581025 w 1266825"/>
                <a:gd name="connsiteY6" fmla="*/ 695326 h 847726"/>
                <a:gd name="connsiteX7" fmla="*/ 742950 w 1266825"/>
                <a:gd name="connsiteY7" fmla="*/ 666751 h 847726"/>
                <a:gd name="connsiteX8" fmla="*/ 923925 w 1266825"/>
                <a:gd name="connsiteY8" fmla="*/ 552451 h 847726"/>
                <a:gd name="connsiteX9" fmla="*/ 1076325 w 1266825"/>
                <a:gd name="connsiteY9" fmla="*/ 552451 h 847726"/>
                <a:gd name="connsiteX10" fmla="*/ 1238250 w 1266825"/>
                <a:gd name="connsiteY10" fmla="*/ 561976 h 847726"/>
                <a:gd name="connsiteX11" fmla="*/ 1266825 w 1266825"/>
                <a:gd name="connsiteY11" fmla="*/ 485776 h 847726"/>
                <a:gd name="connsiteX12" fmla="*/ 1266825 w 1266825"/>
                <a:gd name="connsiteY12" fmla="*/ 485776 h 847726"/>
                <a:gd name="connsiteX13" fmla="*/ 1171575 w 1266825"/>
                <a:gd name="connsiteY13" fmla="*/ 295276 h 847726"/>
                <a:gd name="connsiteX14" fmla="*/ 1114425 w 1266825"/>
                <a:gd name="connsiteY14" fmla="*/ 276226 h 847726"/>
                <a:gd name="connsiteX15" fmla="*/ 1076325 w 1266825"/>
                <a:gd name="connsiteY15" fmla="*/ 180976 h 847726"/>
                <a:gd name="connsiteX16" fmla="*/ 885825 w 1266825"/>
                <a:gd name="connsiteY16" fmla="*/ 152401 h 847726"/>
                <a:gd name="connsiteX17" fmla="*/ 809625 w 1266825"/>
                <a:gd name="connsiteY17" fmla="*/ 0 h 847726"/>
                <a:gd name="connsiteX18" fmla="*/ 161925 w 1266825"/>
                <a:gd name="connsiteY18" fmla="*/ 390525 h 847726"/>
                <a:gd name="connsiteX19" fmla="*/ 161925 w 1266825"/>
                <a:gd name="connsiteY19" fmla="*/ 485775 h 847726"/>
                <a:gd name="connsiteX20" fmla="*/ 28575 w 1266825"/>
                <a:gd name="connsiteY20" fmla="*/ 466726 h 847726"/>
                <a:gd name="connsiteX0" fmla="*/ 0 w 1266825"/>
                <a:gd name="connsiteY0" fmla="*/ 466726 h 847726"/>
                <a:gd name="connsiteX1" fmla="*/ 38100 w 1266825"/>
                <a:gd name="connsiteY1" fmla="*/ 666751 h 847726"/>
                <a:gd name="connsiteX2" fmla="*/ 66675 w 1266825"/>
                <a:gd name="connsiteY2" fmla="*/ 838201 h 847726"/>
                <a:gd name="connsiteX3" fmla="*/ 209550 w 1266825"/>
                <a:gd name="connsiteY3" fmla="*/ 847726 h 847726"/>
                <a:gd name="connsiteX4" fmla="*/ 428625 w 1266825"/>
                <a:gd name="connsiteY4" fmla="*/ 809626 h 847726"/>
                <a:gd name="connsiteX5" fmla="*/ 552450 w 1266825"/>
                <a:gd name="connsiteY5" fmla="*/ 752476 h 847726"/>
                <a:gd name="connsiteX6" fmla="*/ 581025 w 1266825"/>
                <a:gd name="connsiteY6" fmla="*/ 695326 h 847726"/>
                <a:gd name="connsiteX7" fmla="*/ 742950 w 1266825"/>
                <a:gd name="connsiteY7" fmla="*/ 666751 h 847726"/>
                <a:gd name="connsiteX8" fmla="*/ 923925 w 1266825"/>
                <a:gd name="connsiteY8" fmla="*/ 552451 h 847726"/>
                <a:gd name="connsiteX9" fmla="*/ 1076325 w 1266825"/>
                <a:gd name="connsiteY9" fmla="*/ 552451 h 847726"/>
                <a:gd name="connsiteX10" fmla="*/ 1238250 w 1266825"/>
                <a:gd name="connsiteY10" fmla="*/ 561976 h 847726"/>
                <a:gd name="connsiteX11" fmla="*/ 1266825 w 1266825"/>
                <a:gd name="connsiteY11" fmla="*/ 485776 h 847726"/>
                <a:gd name="connsiteX12" fmla="*/ 1266825 w 1266825"/>
                <a:gd name="connsiteY12" fmla="*/ 485776 h 847726"/>
                <a:gd name="connsiteX13" fmla="*/ 1181100 w 1266825"/>
                <a:gd name="connsiteY13" fmla="*/ 433388 h 847726"/>
                <a:gd name="connsiteX14" fmla="*/ 1171575 w 1266825"/>
                <a:gd name="connsiteY14" fmla="*/ 295276 h 847726"/>
                <a:gd name="connsiteX15" fmla="*/ 1114425 w 1266825"/>
                <a:gd name="connsiteY15" fmla="*/ 276226 h 847726"/>
                <a:gd name="connsiteX16" fmla="*/ 1076325 w 1266825"/>
                <a:gd name="connsiteY16" fmla="*/ 180976 h 847726"/>
                <a:gd name="connsiteX17" fmla="*/ 885825 w 1266825"/>
                <a:gd name="connsiteY17" fmla="*/ 152401 h 847726"/>
                <a:gd name="connsiteX18" fmla="*/ 809625 w 1266825"/>
                <a:gd name="connsiteY18" fmla="*/ 0 h 847726"/>
                <a:gd name="connsiteX19" fmla="*/ 161925 w 1266825"/>
                <a:gd name="connsiteY19" fmla="*/ 390525 h 847726"/>
                <a:gd name="connsiteX20" fmla="*/ 161925 w 1266825"/>
                <a:gd name="connsiteY20" fmla="*/ 485775 h 847726"/>
                <a:gd name="connsiteX21" fmla="*/ 28575 w 1266825"/>
                <a:gd name="connsiteY21" fmla="*/ 466726 h 847726"/>
                <a:gd name="connsiteX0" fmla="*/ 0 w 1266825"/>
                <a:gd name="connsiteY0" fmla="*/ 466726 h 847726"/>
                <a:gd name="connsiteX1" fmla="*/ 38100 w 1266825"/>
                <a:gd name="connsiteY1" fmla="*/ 666751 h 847726"/>
                <a:gd name="connsiteX2" fmla="*/ 66675 w 1266825"/>
                <a:gd name="connsiteY2" fmla="*/ 838201 h 847726"/>
                <a:gd name="connsiteX3" fmla="*/ 209550 w 1266825"/>
                <a:gd name="connsiteY3" fmla="*/ 847726 h 847726"/>
                <a:gd name="connsiteX4" fmla="*/ 428625 w 1266825"/>
                <a:gd name="connsiteY4" fmla="*/ 809626 h 847726"/>
                <a:gd name="connsiteX5" fmla="*/ 552450 w 1266825"/>
                <a:gd name="connsiteY5" fmla="*/ 752476 h 847726"/>
                <a:gd name="connsiteX6" fmla="*/ 581025 w 1266825"/>
                <a:gd name="connsiteY6" fmla="*/ 695326 h 847726"/>
                <a:gd name="connsiteX7" fmla="*/ 742950 w 1266825"/>
                <a:gd name="connsiteY7" fmla="*/ 666751 h 847726"/>
                <a:gd name="connsiteX8" fmla="*/ 901700 w 1266825"/>
                <a:gd name="connsiteY8" fmla="*/ 581026 h 847726"/>
                <a:gd name="connsiteX9" fmla="*/ 1076325 w 1266825"/>
                <a:gd name="connsiteY9" fmla="*/ 552451 h 847726"/>
                <a:gd name="connsiteX10" fmla="*/ 1238250 w 1266825"/>
                <a:gd name="connsiteY10" fmla="*/ 561976 h 847726"/>
                <a:gd name="connsiteX11" fmla="*/ 1266825 w 1266825"/>
                <a:gd name="connsiteY11" fmla="*/ 485776 h 847726"/>
                <a:gd name="connsiteX12" fmla="*/ 1266825 w 1266825"/>
                <a:gd name="connsiteY12" fmla="*/ 485776 h 847726"/>
                <a:gd name="connsiteX13" fmla="*/ 1181100 w 1266825"/>
                <a:gd name="connsiteY13" fmla="*/ 433388 h 847726"/>
                <a:gd name="connsiteX14" fmla="*/ 1171575 w 1266825"/>
                <a:gd name="connsiteY14" fmla="*/ 295276 h 847726"/>
                <a:gd name="connsiteX15" fmla="*/ 1114425 w 1266825"/>
                <a:gd name="connsiteY15" fmla="*/ 276226 h 847726"/>
                <a:gd name="connsiteX16" fmla="*/ 1076325 w 1266825"/>
                <a:gd name="connsiteY16" fmla="*/ 180976 h 847726"/>
                <a:gd name="connsiteX17" fmla="*/ 885825 w 1266825"/>
                <a:gd name="connsiteY17" fmla="*/ 152401 h 847726"/>
                <a:gd name="connsiteX18" fmla="*/ 809625 w 1266825"/>
                <a:gd name="connsiteY18" fmla="*/ 0 h 847726"/>
                <a:gd name="connsiteX19" fmla="*/ 161925 w 1266825"/>
                <a:gd name="connsiteY19" fmla="*/ 390525 h 847726"/>
                <a:gd name="connsiteX20" fmla="*/ 161925 w 1266825"/>
                <a:gd name="connsiteY20" fmla="*/ 485775 h 847726"/>
                <a:gd name="connsiteX21" fmla="*/ 28575 w 1266825"/>
                <a:gd name="connsiteY21" fmla="*/ 466726 h 847726"/>
                <a:gd name="connsiteX0" fmla="*/ 0 w 1266825"/>
                <a:gd name="connsiteY0" fmla="*/ 466726 h 847726"/>
                <a:gd name="connsiteX1" fmla="*/ 38100 w 1266825"/>
                <a:gd name="connsiteY1" fmla="*/ 666751 h 847726"/>
                <a:gd name="connsiteX2" fmla="*/ 66675 w 1266825"/>
                <a:gd name="connsiteY2" fmla="*/ 838201 h 847726"/>
                <a:gd name="connsiteX3" fmla="*/ 209550 w 1266825"/>
                <a:gd name="connsiteY3" fmla="*/ 847726 h 847726"/>
                <a:gd name="connsiteX4" fmla="*/ 428625 w 1266825"/>
                <a:gd name="connsiteY4" fmla="*/ 809626 h 847726"/>
                <a:gd name="connsiteX5" fmla="*/ 552450 w 1266825"/>
                <a:gd name="connsiteY5" fmla="*/ 752476 h 847726"/>
                <a:gd name="connsiteX6" fmla="*/ 581025 w 1266825"/>
                <a:gd name="connsiteY6" fmla="*/ 695326 h 847726"/>
                <a:gd name="connsiteX7" fmla="*/ 742950 w 1266825"/>
                <a:gd name="connsiteY7" fmla="*/ 666751 h 847726"/>
                <a:gd name="connsiteX8" fmla="*/ 901700 w 1266825"/>
                <a:gd name="connsiteY8" fmla="*/ 581026 h 847726"/>
                <a:gd name="connsiteX9" fmla="*/ 1073150 w 1266825"/>
                <a:gd name="connsiteY9" fmla="*/ 609601 h 847726"/>
                <a:gd name="connsiteX10" fmla="*/ 1238250 w 1266825"/>
                <a:gd name="connsiteY10" fmla="*/ 561976 h 847726"/>
                <a:gd name="connsiteX11" fmla="*/ 1266825 w 1266825"/>
                <a:gd name="connsiteY11" fmla="*/ 485776 h 847726"/>
                <a:gd name="connsiteX12" fmla="*/ 1266825 w 1266825"/>
                <a:gd name="connsiteY12" fmla="*/ 485776 h 847726"/>
                <a:gd name="connsiteX13" fmla="*/ 1181100 w 1266825"/>
                <a:gd name="connsiteY13" fmla="*/ 433388 h 847726"/>
                <a:gd name="connsiteX14" fmla="*/ 1171575 w 1266825"/>
                <a:gd name="connsiteY14" fmla="*/ 295276 h 847726"/>
                <a:gd name="connsiteX15" fmla="*/ 1114425 w 1266825"/>
                <a:gd name="connsiteY15" fmla="*/ 276226 h 847726"/>
                <a:gd name="connsiteX16" fmla="*/ 1076325 w 1266825"/>
                <a:gd name="connsiteY16" fmla="*/ 180976 h 847726"/>
                <a:gd name="connsiteX17" fmla="*/ 885825 w 1266825"/>
                <a:gd name="connsiteY17" fmla="*/ 152401 h 847726"/>
                <a:gd name="connsiteX18" fmla="*/ 809625 w 1266825"/>
                <a:gd name="connsiteY18" fmla="*/ 0 h 847726"/>
                <a:gd name="connsiteX19" fmla="*/ 161925 w 1266825"/>
                <a:gd name="connsiteY19" fmla="*/ 390525 h 847726"/>
                <a:gd name="connsiteX20" fmla="*/ 161925 w 1266825"/>
                <a:gd name="connsiteY20" fmla="*/ 485775 h 847726"/>
                <a:gd name="connsiteX21" fmla="*/ 28575 w 1266825"/>
                <a:gd name="connsiteY21" fmla="*/ 466726 h 847726"/>
                <a:gd name="connsiteX0" fmla="*/ 0 w 1266825"/>
                <a:gd name="connsiteY0" fmla="*/ 466726 h 847726"/>
                <a:gd name="connsiteX1" fmla="*/ 38100 w 1266825"/>
                <a:gd name="connsiteY1" fmla="*/ 666751 h 847726"/>
                <a:gd name="connsiteX2" fmla="*/ 66675 w 1266825"/>
                <a:gd name="connsiteY2" fmla="*/ 838201 h 847726"/>
                <a:gd name="connsiteX3" fmla="*/ 209550 w 1266825"/>
                <a:gd name="connsiteY3" fmla="*/ 847726 h 847726"/>
                <a:gd name="connsiteX4" fmla="*/ 428625 w 1266825"/>
                <a:gd name="connsiteY4" fmla="*/ 809626 h 847726"/>
                <a:gd name="connsiteX5" fmla="*/ 552450 w 1266825"/>
                <a:gd name="connsiteY5" fmla="*/ 752476 h 847726"/>
                <a:gd name="connsiteX6" fmla="*/ 581025 w 1266825"/>
                <a:gd name="connsiteY6" fmla="*/ 695326 h 847726"/>
                <a:gd name="connsiteX7" fmla="*/ 742950 w 1266825"/>
                <a:gd name="connsiteY7" fmla="*/ 666751 h 847726"/>
                <a:gd name="connsiteX8" fmla="*/ 901700 w 1266825"/>
                <a:gd name="connsiteY8" fmla="*/ 581026 h 847726"/>
                <a:gd name="connsiteX9" fmla="*/ 1073150 w 1266825"/>
                <a:gd name="connsiteY9" fmla="*/ 609601 h 847726"/>
                <a:gd name="connsiteX10" fmla="*/ 1219200 w 1266825"/>
                <a:gd name="connsiteY10" fmla="*/ 581026 h 847726"/>
                <a:gd name="connsiteX11" fmla="*/ 1266825 w 1266825"/>
                <a:gd name="connsiteY11" fmla="*/ 485776 h 847726"/>
                <a:gd name="connsiteX12" fmla="*/ 1266825 w 1266825"/>
                <a:gd name="connsiteY12" fmla="*/ 485776 h 847726"/>
                <a:gd name="connsiteX13" fmla="*/ 1181100 w 1266825"/>
                <a:gd name="connsiteY13" fmla="*/ 433388 h 847726"/>
                <a:gd name="connsiteX14" fmla="*/ 1171575 w 1266825"/>
                <a:gd name="connsiteY14" fmla="*/ 295276 h 847726"/>
                <a:gd name="connsiteX15" fmla="*/ 1114425 w 1266825"/>
                <a:gd name="connsiteY15" fmla="*/ 276226 h 847726"/>
                <a:gd name="connsiteX16" fmla="*/ 1076325 w 1266825"/>
                <a:gd name="connsiteY16" fmla="*/ 180976 h 847726"/>
                <a:gd name="connsiteX17" fmla="*/ 885825 w 1266825"/>
                <a:gd name="connsiteY17" fmla="*/ 152401 h 847726"/>
                <a:gd name="connsiteX18" fmla="*/ 809625 w 1266825"/>
                <a:gd name="connsiteY18" fmla="*/ 0 h 847726"/>
                <a:gd name="connsiteX19" fmla="*/ 161925 w 1266825"/>
                <a:gd name="connsiteY19" fmla="*/ 390525 h 847726"/>
                <a:gd name="connsiteX20" fmla="*/ 161925 w 1266825"/>
                <a:gd name="connsiteY20" fmla="*/ 485775 h 847726"/>
                <a:gd name="connsiteX21" fmla="*/ 28575 w 1266825"/>
                <a:gd name="connsiteY21" fmla="*/ 466726 h 847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266825" h="847726">
                  <a:moveTo>
                    <a:pt x="0" y="466726"/>
                  </a:moveTo>
                  <a:lnTo>
                    <a:pt x="38100" y="666751"/>
                  </a:lnTo>
                  <a:lnTo>
                    <a:pt x="66675" y="838201"/>
                  </a:lnTo>
                  <a:lnTo>
                    <a:pt x="209550" y="847726"/>
                  </a:lnTo>
                  <a:lnTo>
                    <a:pt x="428625" y="809626"/>
                  </a:lnTo>
                  <a:lnTo>
                    <a:pt x="552450" y="752476"/>
                  </a:lnTo>
                  <a:lnTo>
                    <a:pt x="581025" y="695326"/>
                  </a:lnTo>
                  <a:lnTo>
                    <a:pt x="742950" y="666751"/>
                  </a:lnTo>
                  <a:lnTo>
                    <a:pt x="901700" y="581026"/>
                  </a:lnTo>
                  <a:lnTo>
                    <a:pt x="1073150" y="609601"/>
                  </a:lnTo>
                  <a:lnTo>
                    <a:pt x="1219200" y="581026"/>
                  </a:lnTo>
                  <a:lnTo>
                    <a:pt x="1266825" y="485776"/>
                  </a:lnTo>
                  <a:lnTo>
                    <a:pt x="1266825" y="485776"/>
                  </a:lnTo>
                  <a:cubicBezTo>
                    <a:pt x="1252538" y="477045"/>
                    <a:pt x="1196975" y="461963"/>
                    <a:pt x="1181100" y="433388"/>
                  </a:cubicBezTo>
                  <a:lnTo>
                    <a:pt x="1171575" y="295276"/>
                  </a:lnTo>
                  <a:lnTo>
                    <a:pt x="1114425" y="276226"/>
                  </a:lnTo>
                  <a:lnTo>
                    <a:pt x="1076325" y="180976"/>
                  </a:lnTo>
                  <a:lnTo>
                    <a:pt x="885825" y="152401"/>
                  </a:lnTo>
                  <a:lnTo>
                    <a:pt x="809625" y="0"/>
                  </a:lnTo>
                  <a:cubicBezTo>
                    <a:pt x="671513" y="50800"/>
                    <a:pt x="284163" y="323850"/>
                    <a:pt x="161925" y="390525"/>
                  </a:cubicBezTo>
                  <a:cubicBezTo>
                    <a:pt x="39688" y="457200"/>
                    <a:pt x="198437" y="481012"/>
                    <a:pt x="161925" y="485775"/>
                  </a:cubicBezTo>
                  <a:lnTo>
                    <a:pt x="28575" y="466726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/>
            </a:p>
          </p:txBody>
        </p:sp>
        <p:sp>
          <p:nvSpPr>
            <p:cNvPr id="343" name="Figura a mano libera: forma 342">
              <a:extLst>
                <a:ext uri="{FF2B5EF4-FFF2-40B4-BE49-F238E27FC236}">
                  <a16:creationId xmlns="" xmlns:a16="http://schemas.microsoft.com/office/drawing/2014/main" id="{3E6C15CA-BD4C-424D-80CC-5FCAAAC5922C}"/>
                </a:ext>
              </a:extLst>
            </p:cNvPr>
            <p:cNvSpPr/>
            <p:nvPr/>
          </p:nvSpPr>
          <p:spPr bwMode="auto">
            <a:xfrm>
              <a:off x="3488234" y="1873250"/>
              <a:ext cx="1187450" cy="1651000"/>
            </a:xfrm>
            <a:custGeom>
              <a:avLst/>
              <a:gdLst>
                <a:gd name="connsiteX0" fmla="*/ 0 w 1187450"/>
                <a:gd name="connsiteY0" fmla="*/ 1327150 h 1651000"/>
                <a:gd name="connsiteX1" fmla="*/ 101600 w 1187450"/>
                <a:gd name="connsiteY1" fmla="*/ 1498600 h 1651000"/>
                <a:gd name="connsiteX2" fmla="*/ 209550 w 1187450"/>
                <a:gd name="connsiteY2" fmla="*/ 1504950 h 1651000"/>
                <a:gd name="connsiteX3" fmla="*/ 317500 w 1187450"/>
                <a:gd name="connsiteY3" fmla="*/ 1619250 h 1651000"/>
                <a:gd name="connsiteX4" fmla="*/ 488950 w 1187450"/>
                <a:gd name="connsiteY4" fmla="*/ 1651000 h 1651000"/>
                <a:gd name="connsiteX5" fmla="*/ 501650 w 1187450"/>
                <a:gd name="connsiteY5" fmla="*/ 1492250 h 1651000"/>
                <a:gd name="connsiteX6" fmla="*/ 1009650 w 1187450"/>
                <a:gd name="connsiteY6" fmla="*/ 1219200 h 1651000"/>
                <a:gd name="connsiteX7" fmla="*/ 1117600 w 1187450"/>
                <a:gd name="connsiteY7" fmla="*/ 1155700 h 1651000"/>
                <a:gd name="connsiteX8" fmla="*/ 1187450 w 1187450"/>
                <a:gd name="connsiteY8" fmla="*/ 965200 h 1651000"/>
                <a:gd name="connsiteX9" fmla="*/ 1155700 w 1187450"/>
                <a:gd name="connsiteY9" fmla="*/ 882650 h 1651000"/>
                <a:gd name="connsiteX10" fmla="*/ 1047750 w 1187450"/>
                <a:gd name="connsiteY10" fmla="*/ 819150 h 1651000"/>
                <a:gd name="connsiteX11" fmla="*/ 996950 w 1187450"/>
                <a:gd name="connsiteY11" fmla="*/ 781050 h 1651000"/>
                <a:gd name="connsiteX12" fmla="*/ 1035050 w 1187450"/>
                <a:gd name="connsiteY12" fmla="*/ 755650 h 1651000"/>
                <a:gd name="connsiteX13" fmla="*/ 1035050 w 1187450"/>
                <a:gd name="connsiteY13" fmla="*/ 730250 h 1651000"/>
                <a:gd name="connsiteX14" fmla="*/ 1054100 w 1187450"/>
                <a:gd name="connsiteY14" fmla="*/ 698500 h 1651000"/>
                <a:gd name="connsiteX15" fmla="*/ 1041400 w 1187450"/>
                <a:gd name="connsiteY15" fmla="*/ 647700 h 1651000"/>
                <a:gd name="connsiteX16" fmla="*/ 1028700 w 1187450"/>
                <a:gd name="connsiteY16" fmla="*/ 622300 h 1651000"/>
                <a:gd name="connsiteX17" fmla="*/ 1079500 w 1187450"/>
                <a:gd name="connsiteY17" fmla="*/ 571500 h 1651000"/>
                <a:gd name="connsiteX18" fmla="*/ 1111250 w 1187450"/>
                <a:gd name="connsiteY18" fmla="*/ 533400 h 1651000"/>
                <a:gd name="connsiteX19" fmla="*/ 1028700 w 1187450"/>
                <a:gd name="connsiteY19" fmla="*/ 463550 h 1651000"/>
                <a:gd name="connsiteX20" fmla="*/ 933450 w 1187450"/>
                <a:gd name="connsiteY20" fmla="*/ 400050 h 1651000"/>
                <a:gd name="connsiteX21" fmla="*/ 850900 w 1187450"/>
                <a:gd name="connsiteY21" fmla="*/ 304800 h 1651000"/>
                <a:gd name="connsiteX22" fmla="*/ 806450 w 1187450"/>
                <a:gd name="connsiteY22" fmla="*/ 241300 h 1651000"/>
                <a:gd name="connsiteX23" fmla="*/ 723900 w 1187450"/>
                <a:gd name="connsiteY23" fmla="*/ 196850 h 1651000"/>
                <a:gd name="connsiteX24" fmla="*/ 685800 w 1187450"/>
                <a:gd name="connsiteY24" fmla="*/ 101600 h 1651000"/>
                <a:gd name="connsiteX25" fmla="*/ 628650 w 1187450"/>
                <a:gd name="connsiteY25" fmla="*/ 38100 h 1651000"/>
                <a:gd name="connsiteX26" fmla="*/ 609600 w 1187450"/>
                <a:gd name="connsiteY26" fmla="*/ 0 h 1651000"/>
                <a:gd name="connsiteX27" fmla="*/ 482600 w 1187450"/>
                <a:gd name="connsiteY27" fmla="*/ 38100 h 1651000"/>
                <a:gd name="connsiteX28" fmla="*/ 469900 w 1187450"/>
                <a:gd name="connsiteY28" fmla="*/ 158750 h 1651000"/>
                <a:gd name="connsiteX29" fmla="*/ 450850 w 1187450"/>
                <a:gd name="connsiteY29" fmla="*/ 215900 h 1651000"/>
                <a:gd name="connsiteX30" fmla="*/ 565150 w 1187450"/>
                <a:gd name="connsiteY30" fmla="*/ 260350 h 1651000"/>
                <a:gd name="connsiteX31" fmla="*/ 654050 w 1187450"/>
                <a:gd name="connsiteY31" fmla="*/ 311150 h 1651000"/>
                <a:gd name="connsiteX32" fmla="*/ 628650 w 1187450"/>
                <a:gd name="connsiteY32" fmla="*/ 330200 h 1651000"/>
                <a:gd name="connsiteX33" fmla="*/ 488950 w 1187450"/>
                <a:gd name="connsiteY33" fmla="*/ 355600 h 1651000"/>
                <a:gd name="connsiteX34" fmla="*/ 431800 w 1187450"/>
                <a:gd name="connsiteY34" fmla="*/ 323850 h 1651000"/>
                <a:gd name="connsiteX35" fmla="*/ 292100 w 1187450"/>
                <a:gd name="connsiteY35" fmla="*/ 342900 h 1651000"/>
                <a:gd name="connsiteX36" fmla="*/ 266700 w 1187450"/>
                <a:gd name="connsiteY36" fmla="*/ 400050 h 1651000"/>
                <a:gd name="connsiteX37" fmla="*/ 266700 w 1187450"/>
                <a:gd name="connsiteY37" fmla="*/ 482600 h 1651000"/>
                <a:gd name="connsiteX38" fmla="*/ 266700 w 1187450"/>
                <a:gd name="connsiteY38" fmla="*/ 558800 h 1651000"/>
                <a:gd name="connsiteX39" fmla="*/ 266700 w 1187450"/>
                <a:gd name="connsiteY39" fmla="*/ 615950 h 1651000"/>
                <a:gd name="connsiteX40" fmla="*/ 241300 w 1187450"/>
                <a:gd name="connsiteY40" fmla="*/ 711200 h 1651000"/>
                <a:gd name="connsiteX41" fmla="*/ 184150 w 1187450"/>
                <a:gd name="connsiteY41" fmla="*/ 755650 h 1651000"/>
                <a:gd name="connsiteX42" fmla="*/ 190500 w 1187450"/>
                <a:gd name="connsiteY42" fmla="*/ 825500 h 1651000"/>
                <a:gd name="connsiteX43" fmla="*/ 234950 w 1187450"/>
                <a:gd name="connsiteY43" fmla="*/ 882650 h 1651000"/>
                <a:gd name="connsiteX44" fmla="*/ 165100 w 1187450"/>
                <a:gd name="connsiteY44" fmla="*/ 895350 h 1651000"/>
                <a:gd name="connsiteX45" fmla="*/ 107950 w 1187450"/>
                <a:gd name="connsiteY45" fmla="*/ 933450 h 1651000"/>
                <a:gd name="connsiteX46" fmla="*/ 101600 w 1187450"/>
                <a:gd name="connsiteY46" fmla="*/ 1060450 h 1651000"/>
                <a:gd name="connsiteX47" fmla="*/ 127000 w 1187450"/>
                <a:gd name="connsiteY47" fmla="*/ 1136650 h 1651000"/>
                <a:gd name="connsiteX48" fmla="*/ 95250 w 1187450"/>
                <a:gd name="connsiteY48" fmla="*/ 1212850 h 1651000"/>
                <a:gd name="connsiteX49" fmla="*/ 120650 w 1187450"/>
                <a:gd name="connsiteY49" fmla="*/ 1257300 h 1651000"/>
                <a:gd name="connsiteX50" fmla="*/ 63500 w 1187450"/>
                <a:gd name="connsiteY50" fmla="*/ 1308100 h 1651000"/>
                <a:gd name="connsiteX51" fmla="*/ 0 w 1187450"/>
                <a:gd name="connsiteY51" fmla="*/ 1327150 h 165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187450" h="1651000">
                  <a:moveTo>
                    <a:pt x="0" y="1327150"/>
                  </a:moveTo>
                  <a:lnTo>
                    <a:pt x="101600" y="1498600"/>
                  </a:lnTo>
                  <a:lnTo>
                    <a:pt x="209550" y="1504950"/>
                  </a:lnTo>
                  <a:lnTo>
                    <a:pt x="317500" y="1619250"/>
                  </a:lnTo>
                  <a:lnTo>
                    <a:pt x="488950" y="1651000"/>
                  </a:lnTo>
                  <a:lnTo>
                    <a:pt x="501650" y="1492250"/>
                  </a:lnTo>
                  <a:lnTo>
                    <a:pt x="1009650" y="1219200"/>
                  </a:lnTo>
                  <a:lnTo>
                    <a:pt x="1117600" y="1155700"/>
                  </a:lnTo>
                  <a:lnTo>
                    <a:pt x="1187450" y="965200"/>
                  </a:lnTo>
                  <a:lnTo>
                    <a:pt x="1155700" y="882650"/>
                  </a:lnTo>
                  <a:lnTo>
                    <a:pt x="1047750" y="819150"/>
                  </a:lnTo>
                  <a:lnTo>
                    <a:pt x="996950" y="781050"/>
                  </a:lnTo>
                  <a:lnTo>
                    <a:pt x="1035050" y="755650"/>
                  </a:lnTo>
                  <a:lnTo>
                    <a:pt x="1035050" y="730250"/>
                  </a:lnTo>
                  <a:lnTo>
                    <a:pt x="1054100" y="698500"/>
                  </a:lnTo>
                  <a:lnTo>
                    <a:pt x="1041400" y="647700"/>
                  </a:lnTo>
                  <a:lnTo>
                    <a:pt x="1028700" y="622300"/>
                  </a:lnTo>
                  <a:lnTo>
                    <a:pt x="1079500" y="571500"/>
                  </a:lnTo>
                  <a:lnTo>
                    <a:pt x="1111250" y="533400"/>
                  </a:lnTo>
                  <a:lnTo>
                    <a:pt x="1028700" y="463550"/>
                  </a:lnTo>
                  <a:lnTo>
                    <a:pt x="933450" y="400050"/>
                  </a:lnTo>
                  <a:lnTo>
                    <a:pt x="850900" y="304800"/>
                  </a:lnTo>
                  <a:lnTo>
                    <a:pt x="806450" y="241300"/>
                  </a:lnTo>
                  <a:lnTo>
                    <a:pt x="723900" y="196850"/>
                  </a:lnTo>
                  <a:lnTo>
                    <a:pt x="685800" y="101600"/>
                  </a:lnTo>
                  <a:lnTo>
                    <a:pt x="628650" y="38100"/>
                  </a:lnTo>
                  <a:lnTo>
                    <a:pt x="609600" y="0"/>
                  </a:lnTo>
                  <a:lnTo>
                    <a:pt x="482600" y="38100"/>
                  </a:lnTo>
                  <a:lnTo>
                    <a:pt x="469900" y="158750"/>
                  </a:lnTo>
                  <a:lnTo>
                    <a:pt x="450850" y="215900"/>
                  </a:lnTo>
                  <a:lnTo>
                    <a:pt x="565150" y="260350"/>
                  </a:lnTo>
                  <a:lnTo>
                    <a:pt x="654050" y="311150"/>
                  </a:lnTo>
                  <a:lnTo>
                    <a:pt x="628650" y="330200"/>
                  </a:lnTo>
                  <a:lnTo>
                    <a:pt x="488950" y="355600"/>
                  </a:lnTo>
                  <a:lnTo>
                    <a:pt x="431800" y="323850"/>
                  </a:lnTo>
                  <a:lnTo>
                    <a:pt x="292100" y="342900"/>
                  </a:lnTo>
                  <a:lnTo>
                    <a:pt x="266700" y="400050"/>
                  </a:lnTo>
                  <a:lnTo>
                    <a:pt x="266700" y="482600"/>
                  </a:lnTo>
                  <a:lnTo>
                    <a:pt x="266700" y="558800"/>
                  </a:lnTo>
                  <a:lnTo>
                    <a:pt x="266700" y="615950"/>
                  </a:lnTo>
                  <a:lnTo>
                    <a:pt x="241300" y="711200"/>
                  </a:lnTo>
                  <a:lnTo>
                    <a:pt x="184150" y="755650"/>
                  </a:lnTo>
                  <a:lnTo>
                    <a:pt x="190500" y="825500"/>
                  </a:lnTo>
                  <a:lnTo>
                    <a:pt x="234950" y="882650"/>
                  </a:lnTo>
                  <a:lnTo>
                    <a:pt x="165100" y="895350"/>
                  </a:lnTo>
                  <a:lnTo>
                    <a:pt x="107950" y="933450"/>
                  </a:lnTo>
                  <a:lnTo>
                    <a:pt x="101600" y="1060450"/>
                  </a:lnTo>
                  <a:lnTo>
                    <a:pt x="127000" y="1136650"/>
                  </a:lnTo>
                  <a:lnTo>
                    <a:pt x="95250" y="1212850"/>
                  </a:lnTo>
                  <a:lnTo>
                    <a:pt x="120650" y="1257300"/>
                  </a:lnTo>
                  <a:lnTo>
                    <a:pt x="63500" y="1308100"/>
                  </a:lnTo>
                  <a:lnTo>
                    <a:pt x="0" y="13271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4" name="Figura a mano libera: forma 343">
              <a:extLst>
                <a:ext uri="{FF2B5EF4-FFF2-40B4-BE49-F238E27FC236}">
                  <a16:creationId xmlns="" xmlns:a16="http://schemas.microsoft.com/office/drawing/2014/main" id="{EF4DD3F6-8273-4694-9EEB-C18C3102ECC4}"/>
                </a:ext>
              </a:extLst>
            </p:cNvPr>
            <p:cNvSpPr/>
            <p:nvPr/>
          </p:nvSpPr>
          <p:spPr bwMode="auto">
            <a:xfrm>
              <a:off x="1399084" y="1611080"/>
              <a:ext cx="2705100" cy="1885950"/>
            </a:xfrm>
            <a:custGeom>
              <a:avLst/>
              <a:gdLst>
                <a:gd name="connsiteX0" fmla="*/ 1797050 w 2705100"/>
                <a:gd name="connsiteY0" fmla="*/ 1885950 h 1885950"/>
                <a:gd name="connsiteX1" fmla="*/ 1943100 w 2705100"/>
                <a:gd name="connsiteY1" fmla="*/ 1809750 h 1885950"/>
                <a:gd name="connsiteX2" fmla="*/ 2063750 w 2705100"/>
                <a:gd name="connsiteY2" fmla="*/ 1841500 h 1885950"/>
                <a:gd name="connsiteX3" fmla="*/ 2203450 w 2705100"/>
                <a:gd name="connsiteY3" fmla="*/ 1778000 h 1885950"/>
                <a:gd name="connsiteX4" fmla="*/ 2178050 w 2705100"/>
                <a:gd name="connsiteY4" fmla="*/ 1682750 h 1885950"/>
                <a:gd name="connsiteX5" fmla="*/ 2127250 w 2705100"/>
                <a:gd name="connsiteY5" fmla="*/ 1612900 h 1885950"/>
                <a:gd name="connsiteX6" fmla="*/ 2235200 w 2705100"/>
                <a:gd name="connsiteY6" fmla="*/ 1562100 h 1885950"/>
                <a:gd name="connsiteX7" fmla="*/ 2235200 w 2705100"/>
                <a:gd name="connsiteY7" fmla="*/ 1466850 h 1885950"/>
                <a:gd name="connsiteX8" fmla="*/ 2146300 w 2705100"/>
                <a:gd name="connsiteY8" fmla="*/ 1428750 h 1885950"/>
                <a:gd name="connsiteX9" fmla="*/ 2241550 w 2705100"/>
                <a:gd name="connsiteY9" fmla="*/ 1403350 h 1885950"/>
                <a:gd name="connsiteX10" fmla="*/ 2247900 w 2705100"/>
                <a:gd name="connsiteY10" fmla="*/ 1327150 h 1885950"/>
                <a:gd name="connsiteX11" fmla="*/ 2197100 w 2705100"/>
                <a:gd name="connsiteY11" fmla="*/ 1219200 h 1885950"/>
                <a:gd name="connsiteX12" fmla="*/ 2298700 w 2705100"/>
                <a:gd name="connsiteY12" fmla="*/ 1187450 h 1885950"/>
                <a:gd name="connsiteX13" fmla="*/ 2349500 w 2705100"/>
                <a:gd name="connsiteY13" fmla="*/ 1162050 h 1885950"/>
                <a:gd name="connsiteX14" fmla="*/ 2355850 w 2705100"/>
                <a:gd name="connsiteY14" fmla="*/ 1117600 h 1885950"/>
                <a:gd name="connsiteX15" fmla="*/ 2349500 w 2705100"/>
                <a:gd name="connsiteY15" fmla="*/ 1079500 h 1885950"/>
                <a:gd name="connsiteX16" fmla="*/ 2286000 w 2705100"/>
                <a:gd name="connsiteY16" fmla="*/ 1035050 h 1885950"/>
                <a:gd name="connsiteX17" fmla="*/ 2298700 w 2705100"/>
                <a:gd name="connsiteY17" fmla="*/ 996950 h 1885950"/>
                <a:gd name="connsiteX18" fmla="*/ 2476500 w 2705100"/>
                <a:gd name="connsiteY18" fmla="*/ 939800 h 1885950"/>
                <a:gd name="connsiteX19" fmla="*/ 2419350 w 2705100"/>
                <a:gd name="connsiteY19" fmla="*/ 825500 h 1885950"/>
                <a:gd name="connsiteX20" fmla="*/ 2400300 w 2705100"/>
                <a:gd name="connsiteY20" fmla="*/ 812800 h 1885950"/>
                <a:gd name="connsiteX21" fmla="*/ 2425700 w 2705100"/>
                <a:gd name="connsiteY21" fmla="*/ 755650 h 1885950"/>
                <a:gd name="connsiteX22" fmla="*/ 2425700 w 2705100"/>
                <a:gd name="connsiteY22" fmla="*/ 704850 h 1885950"/>
                <a:gd name="connsiteX23" fmla="*/ 2482850 w 2705100"/>
                <a:gd name="connsiteY23" fmla="*/ 654050 h 1885950"/>
                <a:gd name="connsiteX24" fmla="*/ 2679700 w 2705100"/>
                <a:gd name="connsiteY24" fmla="*/ 654050 h 1885950"/>
                <a:gd name="connsiteX25" fmla="*/ 2705100 w 2705100"/>
                <a:gd name="connsiteY25" fmla="*/ 603250 h 1885950"/>
                <a:gd name="connsiteX26" fmla="*/ 2635250 w 2705100"/>
                <a:gd name="connsiteY26" fmla="*/ 552450 h 1885950"/>
                <a:gd name="connsiteX27" fmla="*/ 2514600 w 2705100"/>
                <a:gd name="connsiteY27" fmla="*/ 533400 h 1885950"/>
                <a:gd name="connsiteX28" fmla="*/ 2501900 w 2705100"/>
                <a:gd name="connsiteY28" fmla="*/ 469900 h 1885950"/>
                <a:gd name="connsiteX29" fmla="*/ 2482850 w 2705100"/>
                <a:gd name="connsiteY29" fmla="*/ 419100 h 1885950"/>
                <a:gd name="connsiteX30" fmla="*/ 2419350 w 2705100"/>
                <a:gd name="connsiteY30" fmla="*/ 400050 h 1885950"/>
                <a:gd name="connsiteX31" fmla="*/ 2305050 w 2705100"/>
                <a:gd name="connsiteY31" fmla="*/ 374650 h 1885950"/>
                <a:gd name="connsiteX32" fmla="*/ 2216150 w 2705100"/>
                <a:gd name="connsiteY32" fmla="*/ 374650 h 1885950"/>
                <a:gd name="connsiteX33" fmla="*/ 2152650 w 2705100"/>
                <a:gd name="connsiteY33" fmla="*/ 450850 h 1885950"/>
                <a:gd name="connsiteX34" fmla="*/ 2152650 w 2705100"/>
                <a:gd name="connsiteY34" fmla="*/ 450850 h 1885950"/>
                <a:gd name="connsiteX35" fmla="*/ 2000250 w 2705100"/>
                <a:gd name="connsiteY35" fmla="*/ 317500 h 1885950"/>
                <a:gd name="connsiteX36" fmla="*/ 2057400 w 2705100"/>
                <a:gd name="connsiteY36" fmla="*/ 457200 h 1885950"/>
                <a:gd name="connsiteX37" fmla="*/ 1866900 w 2705100"/>
                <a:gd name="connsiteY37" fmla="*/ 457200 h 1885950"/>
                <a:gd name="connsiteX38" fmla="*/ 1784350 w 2705100"/>
                <a:gd name="connsiteY38" fmla="*/ 501650 h 1885950"/>
                <a:gd name="connsiteX39" fmla="*/ 1784350 w 2705100"/>
                <a:gd name="connsiteY39" fmla="*/ 603250 h 1885950"/>
                <a:gd name="connsiteX40" fmla="*/ 1733550 w 2705100"/>
                <a:gd name="connsiteY40" fmla="*/ 641350 h 1885950"/>
                <a:gd name="connsiteX41" fmla="*/ 1676400 w 2705100"/>
                <a:gd name="connsiteY41" fmla="*/ 622300 h 1885950"/>
                <a:gd name="connsiteX42" fmla="*/ 1549400 w 2705100"/>
                <a:gd name="connsiteY42" fmla="*/ 622300 h 1885950"/>
                <a:gd name="connsiteX43" fmla="*/ 1517650 w 2705100"/>
                <a:gd name="connsiteY43" fmla="*/ 558800 h 1885950"/>
                <a:gd name="connsiteX44" fmla="*/ 1460500 w 2705100"/>
                <a:gd name="connsiteY44" fmla="*/ 539750 h 1885950"/>
                <a:gd name="connsiteX45" fmla="*/ 1320800 w 2705100"/>
                <a:gd name="connsiteY45" fmla="*/ 584200 h 1885950"/>
                <a:gd name="connsiteX46" fmla="*/ 1416050 w 2705100"/>
                <a:gd name="connsiteY46" fmla="*/ 666750 h 1885950"/>
                <a:gd name="connsiteX47" fmla="*/ 1492250 w 2705100"/>
                <a:gd name="connsiteY47" fmla="*/ 704850 h 1885950"/>
                <a:gd name="connsiteX48" fmla="*/ 1530350 w 2705100"/>
                <a:gd name="connsiteY48" fmla="*/ 781050 h 1885950"/>
                <a:gd name="connsiteX49" fmla="*/ 1504950 w 2705100"/>
                <a:gd name="connsiteY49" fmla="*/ 825500 h 1885950"/>
                <a:gd name="connsiteX50" fmla="*/ 1416050 w 2705100"/>
                <a:gd name="connsiteY50" fmla="*/ 793750 h 1885950"/>
                <a:gd name="connsiteX51" fmla="*/ 1333500 w 2705100"/>
                <a:gd name="connsiteY51" fmla="*/ 755650 h 1885950"/>
                <a:gd name="connsiteX52" fmla="*/ 1263650 w 2705100"/>
                <a:gd name="connsiteY52" fmla="*/ 711200 h 1885950"/>
                <a:gd name="connsiteX53" fmla="*/ 1206500 w 2705100"/>
                <a:gd name="connsiteY53" fmla="*/ 635000 h 1885950"/>
                <a:gd name="connsiteX54" fmla="*/ 1174750 w 2705100"/>
                <a:gd name="connsiteY54" fmla="*/ 558800 h 1885950"/>
                <a:gd name="connsiteX55" fmla="*/ 1098550 w 2705100"/>
                <a:gd name="connsiteY55" fmla="*/ 488950 h 1885950"/>
                <a:gd name="connsiteX56" fmla="*/ 1098550 w 2705100"/>
                <a:gd name="connsiteY56" fmla="*/ 488950 h 1885950"/>
                <a:gd name="connsiteX57" fmla="*/ 1009650 w 2705100"/>
                <a:gd name="connsiteY57" fmla="*/ 298450 h 1885950"/>
                <a:gd name="connsiteX58" fmla="*/ 1028700 w 2705100"/>
                <a:gd name="connsiteY58" fmla="*/ 247650 h 1885950"/>
                <a:gd name="connsiteX59" fmla="*/ 1130300 w 2705100"/>
                <a:gd name="connsiteY59" fmla="*/ 228600 h 1885950"/>
                <a:gd name="connsiteX60" fmla="*/ 1206500 w 2705100"/>
                <a:gd name="connsiteY60" fmla="*/ 133350 h 1885950"/>
                <a:gd name="connsiteX61" fmla="*/ 1162050 w 2705100"/>
                <a:gd name="connsiteY61" fmla="*/ 44450 h 1885950"/>
                <a:gd name="connsiteX62" fmla="*/ 1041400 w 2705100"/>
                <a:gd name="connsiteY62" fmla="*/ 38100 h 1885950"/>
                <a:gd name="connsiteX63" fmla="*/ 920750 w 2705100"/>
                <a:gd name="connsiteY63" fmla="*/ 44450 h 1885950"/>
                <a:gd name="connsiteX64" fmla="*/ 819150 w 2705100"/>
                <a:gd name="connsiteY64" fmla="*/ 0 h 1885950"/>
                <a:gd name="connsiteX65" fmla="*/ 742950 w 2705100"/>
                <a:gd name="connsiteY65" fmla="*/ 95250 h 1885950"/>
                <a:gd name="connsiteX66" fmla="*/ 685800 w 2705100"/>
                <a:gd name="connsiteY66" fmla="*/ 127000 h 1885950"/>
                <a:gd name="connsiteX67" fmla="*/ 628650 w 2705100"/>
                <a:gd name="connsiteY67" fmla="*/ 171450 h 1885950"/>
                <a:gd name="connsiteX68" fmla="*/ 546100 w 2705100"/>
                <a:gd name="connsiteY68" fmla="*/ 165100 h 1885950"/>
                <a:gd name="connsiteX69" fmla="*/ 552450 w 2705100"/>
                <a:gd name="connsiteY69" fmla="*/ 292100 h 1885950"/>
                <a:gd name="connsiteX70" fmla="*/ 520700 w 2705100"/>
                <a:gd name="connsiteY70" fmla="*/ 342900 h 1885950"/>
                <a:gd name="connsiteX71" fmla="*/ 469900 w 2705100"/>
                <a:gd name="connsiteY71" fmla="*/ 381000 h 1885950"/>
                <a:gd name="connsiteX72" fmla="*/ 438150 w 2705100"/>
                <a:gd name="connsiteY72" fmla="*/ 469900 h 1885950"/>
                <a:gd name="connsiteX73" fmla="*/ 355600 w 2705100"/>
                <a:gd name="connsiteY73" fmla="*/ 469900 h 1885950"/>
                <a:gd name="connsiteX74" fmla="*/ 330200 w 2705100"/>
                <a:gd name="connsiteY74" fmla="*/ 508000 h 1885950"/>
                <a:gd name="connsiteX75" fmla="*/ 234950 w 2705100"/>
                <a:gd name="connsiteY75" fmla="*/ 457200 h 1885950"/>
                <a:gd name="connsiteX76" fmla="*/ 63500 w 2705100"/>
                <a:gd name="connsiteY76" fmla="*/ 425450 h 1885950"/>
                <a:gd name="connsiteX77" fmla="*/ 0 w 2705100"/>
                <a:gd name="connsiteY77" fmla="*/ 546100 h 1885950"/>
                <a:gd name="connsiteX78" fmla="*/ 57150 w 2705100"/>
                <a:gd name="connsiteY78" fmla="*/ 654050 h 1885950"/>
                <a:gd name="connsiteX79" fmla="*/ 127000 w 2705100"/>
                <a:gd name="connsiteY79" fmla="*/ 736600 h 1885950"/>
                <a:gd name="connsiteX80" fmla="*/ 266700 w 2705100"/>
                <a:gd name="connsiteY80" fmla="*/ 749300 h 1885950"/>
                <a:gd name="connsiteX81" fmla="*/ 457200 w 2705100"/>
                <a:gd name="connsiteY81" fmla="*/ 762000 h 1885950"/>
                <a:gd name="connsiteX82" fmla="*/ 615950 w 2705100"/>
                <a:gd name="connsiteY82" fmla="*/ 704850 h 1885950"/>
                <a:gd name="connsiteX83" fmla="*/ 768350 w 2705100"/>
                <a:gd name="connsiteY83" fmla="*/ 723900 h 1885950"/>
                <a:gd name="connsiteX84" fmla="*/ 850900 w 2705100"/>
                <a:gd name="connsiteY84" fmla="*/ 838200 h 1885950"/>
                <a:gd name="connsiteX85" fmla="*/ 939800 w 2705100"/>
                <a:gd name="connsiteY85" fmla="*/ 977900 h 1885950"/>
                <a:gd name="connsiteX86" fmla="*/ 1060450 w 2705100"/>
                <a:gd name="connsiteY86" fmla="*/ 1047750 h 1885950"/>
                <a:gd name="connsiteX87" fmla="*/ 1212850 w 2705100"/>
                <a:gd name="connsiteY87" fmla="*/ 1162050 h 1885950"/>
                <a:gd name="connsiteX88" fmla="*/ 1289050 w 2705100"/>
                <a:gd name="connsiteY88" fmla="*/ 1244600 h 1885950"/>
                <a:gd name="connsiteX89" fmla="*/ 1320800 w 2705100"/>
                <a:gd name="connsiteY89" fmla="*/ 1308100 h 1885950"/>
                <a:gd name="connsiteX90" fmla="*/ 1339850 w 2705100"/>
                <a:gd name="connsiteY90" fmla="*/ 1428750 h 1885950"/>
                <a:gd name="connsiteX91" fmla="*/ 1428750 w 2705100"/>
                <a:gd name="connsiteY91" fmla="*/ 1498600 h 1885950"/>
                <a:gd name="connsiteX92" fmla="*/ 1536700 w 2705100"/>
                <a:gd name="connsiteY92" fmla="*/ 1435100 h 1885950"/>
                <a:gd name="connsiteX93" fmla="*/ 1612900 w 2705100"/>
                <a:gd name="connsiteY93" fmla="*/ 1524000 h 1885950"/>
                <a:gd name="connsiteX94" fmla="*/ 1625600 w 2705100"/>
                <a:gd name="connsiteY94" fmla="*/ 1612900 h 1885950"/>
                <a:gd name="connsiteX95" fmla="*/ 1600200 w 2705100"/>
                <a:gd name="connsiteY95" fmla="*/ 1701800 h 1885950"/>
                <a:gd name="connsiteX96" fmla="*/ 1644650 w 2705100"/>
                <a:gd name="connsiteY96" fmla="*/ 1790700 h 1885950"/>
                <a:gd name="connsiteX97" fmla="*/ 1746250 w 2705100"/>
                <a:gd name="connsiteY97" fmla="*/ 1860550 h 1885950"/>
                <a:gd name="connsiteX98" fmla="*/ 1797050 w 2705100"/>
                <a:gd name="connsiteY98" fmla="*/ 1885950 h 1885950"/>
                <a:gd name="connsiteX0" fmla="*/ 1797050 w 2705100"/>
                <a:gd name="connsiteY0" fmla="*/ 1885950 h 1885950"/>
                <a:gd name="connsiteX1" fmla="*/ 1943100 w 2705100"/>
                <a:gd name="connsiteY1" fmla="*/ 1809750 h 1885950"/>
                <a:gd name="connsiteX2" fmla="*/ 2063750 w 2705100"/>
                <a:gd name="connsiteY2" fmla="*/ 1841500 h 1885950"/>
                <a:gd name="connsiteX3" fmla="*/ 2203450 w 2705100"/>
                <a:gd name="connsiteY3" fmla="*/ 1778000 h 1885950"/>
                <a:gd name="connsiteX4" fmla="*/ 2178050 w 2705100"/>
                <a:gd name="connsiteY4" fmla="*/ 1682750 h 1885950"/>
                <a:gd name="connsiteX5" fmla="*/ 2127250 w 2705100"/>
                <a:gd name="connsiteY5" fmla="*/ 1612900 h 1885950"/>
                <a:gd name="connsiteX6" fmla="*/ 2235200 w 2705100"/>
                <a:gd name="connsiteY6" fmla="*/ 1562100 h 1885950"/>
                <a:gd name="connsiteX7" fmla="*/ 2235200 w 2705100"/>
                <a:gd name="connsiteY7" fmla="*/ 1466850 h 1885950"/>
                <a:gd name="connsiteX8" fmla="*/ 2146300 w 2705100"/>
                <a:gd name="connsiteY8" fmla="*/ 1428750 h 1885950"/>
                <a:gd name="connsiteX9" fmla="*/ 2241550 w 2705100"/>
                <a:gd name="connsiteY9" fmla="*/ 1403350 h 1885950"/>
                <a:gd name="connsiteX10" fmla="*/ 2247900 w 2705100"/>
                <a:gd name="connsiteY10" fmla="*/ 1327150 h 1885950"/>
                <a:gd name="connsiteX11" fmla="*/ 2197100 w 2705100"/>
                <a:gd name="connsiteY11" fmla="*/ 1219200 h 1885950"/>
                <a:gd name="connsiteX12" fmla="*/ 2298700 w 2705100"/>
                <a:gd name="connsiteY12" fmla="*/ 1187450 h 1885950"/>
                <a:gd name="connsiteX13" fmla="*/ 2349500 w 2705100"/>
                <a:gd name="connsiteY13" fmla="*/ 1162050 h 1885950"/>
                <a:gd name="connsiteX14" fmla="*/ 2355850 w 2705100"/>
                <a:gd name="connsiteY14" fmla="*/ 1117600 h 1885950"/>
                <a:gd name="connsiteX15" fmla="*/ 2349500 w 2705100"/>
                <a:gd name="connsiteY15" fmla="*/ 1079500 h 1885950"/>
                <a:gd name="connsiteX16" fmla="*/ 2286000 w 2705100"/>
                <a:gd name="connsiteY16" fmla="*/ 1035050 h 1885950"/>
                <a:gd name="connsiteX17" fmla="*/ 2298700 w 2705100"/>
                <a:gd name="connsiteY17" fmla="*/ 996950 h 1885950"/>
                <a:gd name="connsiteX18" fmla="*/ 2476500 w 2705100"/>
                <a:gd name="connsiteY18" fmla="*/ 939800 h 1885950"/>
                <a:gd name="connsiteX19" fmla="*/ 2419350 w 2705100"/>
                <a:gd name="connsiteY19" fmla="*/ 825500 h 1885950"/>
                <a:gd name="connsiteX20" fmla="*/ 2400300 w 2705100"/>
                <a:gd name="connsiteY20" fmla="*/ 812800 h 1885950"/>
                <a:gd name="connsiteX21" fmla="*/ 2425700 w 2705100"/>
                <a:gd name="connsiteY21" fmla="*/ 755650 h 1885950"/>
                <a:gd name="connsiteX22" fmla="*/ 2425700 w 2705100"/>
                <a:gd name="connsiteY22" fmla="*/ 704850 h 1885950"/>
                <a:gd name="connsiteX23" fmla="*/ 2482850 w 2705100"/>
                <a:gd name="connsiteY23" fmla="*/ 654050 h 1885950"/>
                <a:gd name="connsiteX24" fmla="*/ 2679700 w 2705100"/>
                <a:gd name="connsiteY24" fmla="*/ 654050 h 1885950"/>
                <a:gd name="connsiteX25" fmla="*/ 2705100 w 2705100"/>
                <a:gd name="connsiteY25" fmla="*/ 603250 h 1885950"/>
                <a:gd name="connsiteX26" fmla="*/ 2635250 w 2705100"/>
                <a:gd name="connsiteY26" fmla="*/ 552450 h 1885950"/>
                <a:gd name="connsiteX27" fmla="*/ 2514600 w 2705100"/>
                <a:gd name="connsiteY27" fmla="*/ 533400 h 1885950"/>
                <a:gd name="connsiteX28" fmla="*/ 2501900 w 2705100"/>
                <a:gd name="connsiteY28" fmla="*/ 469900 h 1885950"/>
                <a:gd name="connsiteX29" fmla="*/ 2482850 w 2705100"/>
                <a:gd name="connsiteY29" fmla="*/ 419100 h 1885950"/>
                <a:gd name="connsiteX30" fmla="*/ 2419350 w 2705100"/>
                <a:gd name="connsiteY30" fmla="*/ 400050 h 1885950"/>
                <a:gd name="connsiteX31" fmla="*/ 2305050 w 2705100"/>
                <a:gd name="connsiteY31" fmla="*/ 374650 h 1885950"/>
                <a:gd name="connsiteX32" fmla="*/ 2216150 w 2705100"/>
                <a:gd name="connsiteY32" fmla="*/ 374650 h 1885950"/>
                <a:gd name="connsiteX33" fmla="*/ 2152650 w 2705100"/>
                <a:gd name="connsiteY33" fmla="*/ 450850 h 1885950"/>
                <a:gd name="connsiteX34" fmla="*/ 2152650 w 2705100"/>
                <a:gd name="connsiteY34" fmla="*/ 450850 h 1885950"/>
                <a:gd name="connsiteX35" fmla="*/ 2000250 w 2705100"/>
                <a:gd name="connsiteY35" fmla="*/ 317500 h 1885950"/>
                <a:gd name="connsiteX36" fmla="*/ 2057400 w 2705100"/>
                <a:gd name="connsiteY36" fmla="*/ 457200 h 1885950"/>
                <a:gd name="connsiteX37" fmla="*/ 1866900 w 2705100"/>
                <a:gd name="connsiteY37" fmla="*/ 457200 h 1885950"/>
                <a:gd name="connsiteX38" fmla="*/ 1784350 w 2705100"/>
                <a:gd name="connsiteY38" fmla="*/ 501650 h 1885950"/>
                <a:gd name="connsiteX39" fmla="*/ 1784350 w 2705100"/>
                <a:gd name="connsiteY39" fmla="*/ 603250 h 1885950"/>
                <a:gd name="connsiteX40" fmla="*/ 1733550 w 2705100"/>
                <a:gd name="connsiteY40" fmla="*/ 641350 h 1885950"/>
                <a:gd name="connsiteX41" fmla="*/ 1676400 w 2705100"/>
                <a:gd name="connsiteY41" fmla="*/ 622300 h 1885950"/>
                <a:gd name="connsiteX42" fmla="*/ 1549400 w 2705100"/>
                <a:gd name="connsiteY42" fmla="*/ 622300 h 1885950"/>
                <a:gd name="connsiteX43" fmla="*/ 1517650 w 2705100"/>
                <a:gd name="connsiteY43" fmla="*/ 558800 h 1885950"/>
                <a:gd name="connsiteX44" fmla="*/ 1460500 w 2705100"/>
                <a:gd name="connsiteY44" fmla="*/ 539750 h 1885950"/>
                <a:gd name="connsiteX45" fmla="*/ 1320800 w 2705100"/>
                <a:gd name="connsiteY45" fmla="*/ 584200 h 1885950"/>
                <a:gd name="connsiteX46" fmla="*/ 1416050 w 2705100"/>
                <a:gd name="connsiteY46" fmla="*/ 666750 h 1885950"/>
                <a:gd name="connsiteX47" fmla="*/ 1492250 w 2705100"/>
                <a:gd name="connsiteY47" fmla="*/ 704850 h 1885950"/>
                <a:gd name="connsiteX48" fmla="*/ 1530350 w 2705100"/>
                <a:gd name="connsiteY48" fmla="*/ 781050 h 1885950"/>
                <a:gd name="connsiteX49" fmla="*/ 1504950 w 2705100"/>
                <a:gd name="connsiteY49" fmla="*/ 825500 h 1885950"/>
                <a:gd name="connsiteX50" fmla="*/ 1416050 w 2705100"/>
                <a:gd name="connsiteY50" fmla="*/ 793750 h 1885950"/>
                <a:gd name="connsiteX51" fmla="*/ 1333500 w 2705100"/>
                <a:gd name="connsiteY51" fmla="*/ 755650 h 1885950"/>
                <a:gd name="connsiteX52" fmla="*/ 1263650 w 2705100"/>
                <a:gd name="connsiteY52" fmla="*/ 711200 h 1885950"/>
                <a:gd name="connsiteX53" fmla="*/ 1206500 w 2705100"/>
                <a:gd name="connsiteY53" fmla="*/ 635000 h 1885950"/>
                <a:gd name="connsiteX54" fmla="*/ 1174750 w 2705100"/>
                <a:gd name="connsiteY54" fmla="*/ 558800 h 1885950"/>
                <a:gd name="connsiteX55" fmla="*/ 1098550 w 2705100"/>
                <a:gd name="connsiteY55" fmla="*/ 488950 h 1885950"/>
                <a:gd name="connsiteX56" fmla="*/ 1098550 w 2705100"/>
                <a:gd name="connsiteY56" fmla="*/ 488950 h 1885950"/>
                <a:gd name="connsiteX57" fmla="*/ 1009650 w 2705100"/>
                <a:gd name="connsiteY57" fmla="*/ 298450 h 1885950"/>
                <a:gd name="connsiteX58" fmla="*/ 1028700 w 2705100"/>
                <a:gd name="connsiteY58" fmla="*/ 247650 h 1885950"/>
                <a:gd name="connsiteX59" fmla="*/ 1130300 w 2705100"/>
                <a:gd name="connsiteY59" fmla="*/ 228600 h 1885950"/>
                <a:gd name="connsiteX60" fmla="*/ 1206500 w 2705100"/>
                <a:gd name="connsiteY60" fmla="*/ 133350 h 1885950"/>
                <a:gd name="connsiteX61" fmla="*/ 1162050 w 2705100"/>
                <a:gd name="connsiteY61" fmla="*/ 44450 h 1885950"/>
                <a:gd name="connsiteX62" fmla="*/ 1041400 w 2705100"/>
                <a:gd name="connsiteY62" fmla="*/ 38100 h 1885950"/>
                <a:gd name="connsiteX63" fmla="*/ 920750 w 2705100"/>
                <a:gd name="connsiteY63" fmla="*/ 44450 h 1885950"/>
                <a:gd name="connsiteX64" fmla="*/ 819150 w 2705100"/>
                <a:gd name="connsiteY64" fmla="*/ 0 h 1885950"/>
                <a:gd name="connsiteX65" fmla="*/ 742950 w 2705100"/>
                <a:gd name="connsiteY65" fmla="*/ 95250 h 1885950"/>
                <a:gd name="connsiteX66" fmla="*/ 685800 w 2705100"/>
                <a:gd name="connsiteY66" fmla="*/ 127000 h 1885950"/>
                <a:gd name="connsiteX67" fmla="*/ 628650 w 2705100"/>
                <a:gd name="connsiteY67" fmla="*/ 171450 h 1885950"/>
                <a:gd name="connsiteX68" fmla="*/ 546100 w 2705100"/>
                <a:gd name="connsiteY68" fmla="*/ 165100 h 1885950"/>
                <a:gd name="connsiteX69" fmla="*/ 552450 w 2705100"/>
                <a:gd name="connsiteY69" fmla="*/ 292100 h 1885950"/>
                <a:gd name="connsiteX70" fmla="*/ 520700 w 2705100"/>
                <a:gd name="connsiteY70" fmla="*/ 342900 h 1885950"/>
                <a:gd name="connsiteX71" fmla="*/ 469900 w 2705100"/>
                <a:gd name="connsiteY71" fmla="*/ 381000 h 1885950"/>
                <a:gd name="connsiteX72" fmla="*/ 438150 w 2705100"/>
                <a:gd name="connsiteY72" fmla="*/ 469900 h 1885950"/>
                <a:gd name="connsiteX73" fmla="*/ 355600 w 2705100"/>
                <a:gd name="connsiteY73" fmla="*/ 469900 h 1885950"/>
                <a:gd name="connsiteX74" fmla="*/ 330200 w 2705100"/>
                <a:gd name="connsiteY74" fmla="*/ 508000 h 1885950"/>
                <a:gd name="connsiteX75" fmla="*/ 234950 w 2705100"/>
                <a:gd name="connsiteY75" fmla="*/ 457200 h 1885950"/>
                <a:gd name="connsiteX76" fmla="*/ 63500 w 2705100"/>
                <a:gd name="connsiteY76" fmla="*/ 425450 h 1885950"/>
                <a:gd name="connsiteX77" fmla="*/ 0 w 2705100"/>
                <a:gd name="connsiteY77" fmla="*/ 546100 h 1885950"/>
                <a:gd name="connsiteX78" fmla="*/ 57150 w 2705100"/>
                <a:gd name="connsiteY78" fmla="*/ 654050 h 1885950"/>
                <a:gd name="connsiteX79" fmla="*/ 127000 w 2705100"/>
                <a:gd name="connsiteY79" fmla="*/ 736600 h 1885950"/>
                <a:gd name="connsiteX80" fmla="*/ 266700 w 2705100"/>
                <a:gd name="connsiteY80" fmla="*/ 749300 h 1885950"/>
                <a:gd name="connsiteX81" fmla="*/ 457200 w 2705100"/>
                <a:gd name="connsiteY81" fmla="*/ 762000 h 1885950"/>
                <a:gd name="connsiteX82" fmla="*/ 615950 w 2705100"/>
                <a:gd name="connsiteY82" fmla="*/ 704850 h 1885950"/>
                <a:gd name="connsiteX83" fmla="*/ 742950 w 2705100"/>
                <a:gd name="connsiteY83" fmla="*/ 815975 h 1885950"/>
                <a:gd name="connsiteX84" fmla="*/ 850900 w 2705100"/>
                <a:gd name="connsiteY84" fmla="*/ 838200 h 1885950"/>
                <a:gd name="connsiteX85" fmla="*/ 939800 w 2705100"/>
                <a:gd name="connsiteY85" fmla="*/ 977900 h 1885950"/>
                <a:gd name="connsiteX86" fmla="*/ 1060450 w 2705100"/>
                <a:gd name="connsiteY86" fmla="*/ 1047750 h 1885950"/>
                <a:gd name="connsiteX87" fmla="*/ 1212850 w 2705100"/>
                <a:gd name="connsiteY87" fmla="*/ 1162050 h 1885950"/>
                <a:gd name="connsiteX88" fmla="*/ 1289050 w 2705100"/>
                <a:gd name="connsiteY88" fmla="*/ 1244600 h 1885950"/>
                <a:gd name="connsiteX89" fmla="*/ 1320800 w 2705100"/>
                <a:gd name="connsiteY89" fmla="*/ 1308100 h 1885950"/>
                <a:gd name="connsiteX90" fmla="*/ 1339850 w 2705100"/>
                <a:gd name="connsiteY90" fmla="*/ 1428750 h 1885950"/>
                <a:gd name="connsiteX91" fmla="*/ 1428750 w 2705100"/>
                <a:gd name="connsiteY91" fmla="*/ 1498600 h 1885950"/>
                <a:gd name="connsiteX92" fmla="*/ 1536700 w 2705100"/>
                <a:gd name="connsiteY92" fmla="*/ 1435100 h 1885950"/>
                <a:gd name="connsiteX93" fmla="*/ 1612900 w 2705100"/>
                <a:gd name="connsiteY93" fmla="*/ 1524000 h 1885950"/>
                <a:gd name="connsiteX94" fmla="*/ 1625600 w 2705100"/>
                <a:gd name="connsiteY94" fmla="*/ 1612900 h 1885950"/>
                <a:gd name="connsiteX95" fmla="*/ 1600200 w 2705100"/>
                <a:gd name="connsiteY95" fmla="*/ 1701800 h 1885950"/>
                <a:gd name="connsiteX96" fmla="*/ 1644650 w 2705100"/>
                <a:gd name="connsiteY96" fmla="*/ 1790700 h 1885950"/>
                <a:gd name="connsiteX97" fmla="*/ 1746250 w 2705100"/>
                <a:gd name="connsiteY97" fmla="*/ 1860550 h 1885950"/>
                <a:gd name="connsiteX98" fmla="*/ 1797050 w 2705100"/>
                <a:gd name="connsiteY98" fmla="*/ 1885950 h 1885950"/>
                <a:gd name="connsiteX0" fmla="*/ 1797050 w 2705100"/>
                <a:gd name="connsiteY0" fmla="*/ 1885950 h 1885950"/>
                <a:gd name="connsiteX1" fmla="*/ 1943100 w 2705100"/>
                <a:gd name="connsiteY1" fmla="*/ 1809750 h 1885950"/>
                <a:gd name="connsiteX2" fmla="*/ 2063750 w 2705100"/>
                <a:gd name="connsiteY2" fmla="*/ 1841500 h 1885950"/>
                <a:gd name="connsiteX3" fmla="*/ 2203450 w 2705100"/>
                <a:gd name="connsiteY3" fmla="*/ 1778000 h 1885950"/>
                <a:gd name="connsiteX4" fmla="*/ 2178050 w 2705100"/>
                <a:gd name="connsiteY4" fmla="*/ 1682750 h 1885950"/>
                <a:gd name="connsiteX5" fmla="*/ 2127250 w 2705100"/>
                <a:gd name="connsiteY5" fmla="*/ 1612900 h 1885950"/>
                <a:gd name="connsiteX6" fmla="*/ 2235200 w 2705100"/>
                <a:gd name="connsiteY6" fmla="*/ 1562100 h 1885950"/>
                <a:gd name="connsiteX7" fmla="*/ 2235200 w 2705100"/>
                <a:gd name="connsiteY7" fmla="*/ 1466850 h 1885950"/>
                <a:gd name="connsiteX8" fmla="*/ 2146300 w 2705100"/>
                <a:gd name="connsiteY8" fmla="*/ 1428750 h 1885950"/>
                <a:gd name="connsiteX9" fmla="*/ 2241550 w 2705100"/>
                <a:gd name="connsiteY9" fmla="*/ 1403350 h 1885950"/>
                <a:gd name="connsiteX10" fmla="*/ 2247900 w 2705100"/>
                <a:gd name="connsiteY10" fmla="*/ 1327150 h 1885950"/>
                <a:gd name="connsiteX11" fmla="*/ 2197100 w 2705100"/>
                <a:gd name="connsiteY11" fmla="*/ 1219200 h 1885950"/>
                <a:gd name="connsiteX12" fmla="*/ 2298700 w 2705100"/>
                <a:gd name="connsiteY12" fmla="*/ 1187450 h 1885950"/>
                <a:gd name="connsiteX13" fmla="*/ 2349500 w 2705100"/>
                <a:gd name="connsiteY13" fmla="*/ 1162050 h 1885950"/>
                <a:gd name="connsiteX14" fmla="*/ 2355850 w 2705100"/>
                <a:gd name="connsiteY14" fmla="*/ 1117600 h 1885950"/>
                <a:gd name="connsiteX15" fmla="*/ 2349500 w 2705100"/>
                <a:gd name="connsiteY15" fmla="*/ 1079500 h 1885950"/>
                <a:gd name="connsiteX16" fmla="*/ 2286000 w 2705100"/>
                <a:gd name="connsiteY16" fmla="*/ 1035050 h 1885950"/>
                <a:gd name="connsiteX17" fmla="*/ 2298700 w 2705100"/>
                <a:gd name="connsiteY17" fmla="*/ 996950 h 1885950"/>
                <a:gd name="connsiteX18" fmla="*/ 2476500 w 2705100"/>
                <a:gd name="connsiteY18" fmla="*/ 939800 h 1885950"/>
                <a:gd name="connsiteX19" fmla="*/ 2419350 w 2705100"/>
                <a:gd name="connsiteY19" fmla="*/ 825500 h 1885950"/>
                <a:gd name="connsiteX20" fmla="*/ 2400300 w 2705100"/>
                <a:gd name="connsiteY20" fmla="*/ 812800 h 1885950"/>
                <a:gd name="connsiteX21" fmla="*/ 2425700 w 2705100"/>
                <a:gd name="connsiteY21" fmla="*/ 755650 h 1885950"/>
                <a:gd name="connsiteX22" fmla="*/ 2425700 w 2705100"/>
                <a:gd name="connsiteY22" fmla="*/ 704850 h 1885950"/>
                <a:gd name="connsiteX23" fmla="*/ 2482850 w 2705100"/>
                <a:gd name="connsiteY23" fmla="*/ 654050 h 1885950"/>
                <a:gd name="connsiteX24" fmla="*/ 2679700 w 2705100"/>
                <a:gd name="connsiteY24" fmla="*/ 654050 h 1885950"/>
                <a:gd name="connsiteX25" fmla="*/ 2705100 w 2705100"/>
                <a:gd name="connsiteY25" fmla="*/ 603250 h 1885950"/>
                <a:gd name="connsiteX26" fmla="*/ 2635250 w 2705100"/>
                <a:gd name="connsiteY26" fmla="*/ 552450 h 1885950"/>
                <a:gd name="connsiteX27" fmla="*/ 2514600 w 2705100"/>
                <a:gd name="connsiteY27" fmla="*/ 533400 h 1885950"/>
                <a:gd name="connsiteX28" fmla="*/ 2501900 w 2705100"/>
                <a:gd name="connsiteY28" fmla="*/ 469900 h 1885950"/>
                <a:gd name="connsiteX29" fmla="*/ 2482850 w 2705100"/>
                <a:gd name="connsiteY29" fmla="*/ 419100 h 1885950"/>
                <a:gd name="connsiteX30" fmla="*/ 2419350 w 2705100"/>
                <a:gd name="connsiteY30" fmla="*/ 400050 h 1885950"/>
                <a:gd name="connsiteX31" fmla="*/ 2305050 w 2705100"/>
                <a:gd name="connsiteY31" fmla="*/ 374650 h 1885950"/>
                <a:gd name="connsiteX32" fmla="*/ 2216150 w 2705100"/>
                <a:gd name="connsiteY32" fmla="*/ 374650 h 1885950"/>
                <a:gd name="connsiteX33" fmla="*/ 2152650 w 2705100"/>
                <a:gd name="connsiteY33" fmla="*/ 450850 h 1885950"/>
                <a:gd name="connsiteX34" fmla="*/ 2152650 w 2705100"/>
                <a:gd name="connsiteY34" fmla="*/ 450850 h 1885950"/>
                <a:gd name="connsiteX35" fmla="*/ 2000250 w 2705100"/>
                <a:gd name="connsiteY35" fmla="*/ 317500 h 1885950"/>
                <a:gd name="connsiteX36" fmla="*/ 2057400 w 2705100"/>
                <a:gd name="connsiteY36" fmla="*/ 457200 h 1885950"/>
                <a:gd name="connsiteX37" fmla="*/ 1866900 w 2705100"/>
                <a:gd name="connsiteY37" fmla="*/ 457200 h 1885950"/>
                <a:gd name="connsiteX38" fmla="*/ 1784350 w 2705100"/>
                <a:gd name="connsiteY38" fmla="*/ 501650 h 1885950"/>
                <a:gd name="connsiteX39" fmla="*/ 1784350 w 2705100"/>
                <a:gd name="connsiteY39" fmla="*/ 603250 h 1885950"/>
                <a:gd name="connsiteX40" fmla="*/ 1733550 w 2705100"/>
                <a:gd name="connsiteY40" fmla="*/ 641350 h 1885950"/>
                <a:gd name="connsiteX41" fmla="*/ 1676400 w 2705100"/>
                <a:gd name="connsiteY41" fmla="*/ 622300 h 1885950"/>
                <a:gd name="connsiteX42" fmla="*/ 1549400 w 2705100"/>
                <a:gd name="connsiteY42" fmla="*/ 622300 h 1885950"/>
                <a:gd name="connsiteX43" fmla="*/ 1517650 w 2705100"/>
                <a:gd name="connsiteY43" fmla="*/ 558800 h 1885950"/>
                <a:gd name="connsiteX44" fmla="*/ 1460500 w 2705100"/>
                <a:gd name="connsiteY44" fmla="*/ 539750 h 1885950"/>
                <a:gd name="connsiteX45" fmla="*/ 1320800 w 2705100"/>
                <a:gd name="connsiteY45" fmla="*/ 584200 h 1885950"/>
                <a:gd name="connsiteX46" fmla="*/ 1416050 w 2705100"/>
                <a:gd name="connsiteY46" fmla="*/ 666750 h 1885950"/>
                <a:gd name="connsiteX47" fmla="*/ 1492250 w 2705100"/>
                <a:gd name="connsiteY47" fmla="*/ 704850 h 1885950"/>
                <a:gd name="connsiteX48" fmla="*/ 1530350 w 2705100"/>
                <a:gd name="connsiteY48" fmla="*/ 781050 h 1885950"/>
                <a:gd name="connsiteX49" fmla="*/ 1504950 w 2705100"/>
                <a:gd name="connsiteY49" fmla="*/ 825500 h 1885950"/>
                <a:gd name="connsiteX50" fmla="*/ 1416050 w 2705100"/>
                <a:gd name="connsiteY50" fmla="*/ 793750 h 1885950"/>
                <a:gd name="connsiteX51" fmla="*/ 1333500 w 2705100"/>
                <a:gd name="connsiteY51" fmla="*/ 755650 h 1885950"/>
                <a:gd name="connsiteX52" fmla="*/ 1263650 w 2705100"/>
                <a:gd name="connsiteY52" fmla="*/ 711200 h 1885950"/>
                <a:gd name="connsiteX53" fmla="*/ 1206500 w 2705100"/>
                <a:gd name="connsiteY53" fmla="*/ 635000 h 1885950"/>
                <a:gd name="connsiteX54" fmla="*/ 1174750 w 2705100"/>
                <a:gd name="connsiteY54" fmla="*/ 558800 h 1885950"/>
                <a:gd name="connsiteX55" fmla="*/ 1098550 w 2705100"/>
                <a:gd name="connsiteY55" fmla="*/ 488950 h 1885950"/>
                <a:gd name="connsiteX56" fmla="*/ 1098550 w 2705100"/>
                <a:gd name="connsiteY56" fmla="*/ 488950 h 1885950"/>
                <a:gd name="connsiteX57" fmla="*/ 1009650 w 2705100"/>
                <a:gd name="connsiteY57" fmla="*/ 298450 h 1885950"/>
                <a:gd name="connsiteX58" fmla="*/ 1028700 w 2705100"/>
                <a:gd name="connsiteY58" fmla="*/ 247650 h 1885950"/>
                <a:gd name="connsiteX59" fmla="*/ 1130300 w 2705100"/>
                <a:gd name="connsiteY59" fmla="*/ 228600 h 1885950"/>
                <a:gd name="connsiteX60" fmla="*/ 1206500 w 2705100"/>
                <a:gd name="connsiteY60" fmla="*/ 133350 h 1885950"/>
                <a:gd name="connsiteX61" fmla="*/ 1162050 w 2705100"/>
                <a:gd name="connsiteY61" fmla="*/ 44450 h 1885950"/>
                <a:gd name="connsiteX62" fmla="*/ 1041400 w 2705100"/>
                <a:gd name="connsiteY62" fmla="*/ 38100 h 1885950"/>
                <a:gd name="connsiteX63" fmla="*/ 920750 w 2705100"/>
                <a:gd name="connsiteY63" fmla="*/ 44450 h 1885950"/>
                <a:gd name="connsiteX64" fmla="*/ 819150 w 2705100"/>
                <a:gd name="connsiteY64" fmla="*/ 0 h 1885950"/>
                <a:gd name="connsiteX65" fmla="*/ 742950 w 2705100"/>
                <a:gd name="connsiteY65" fmla="*/ 95250 h 1885950"/>
                <a:gd name="connsiteX66" fmla="*/ 685800 w 2705100"/>
                <a:gd name="connsiteY66" fmla="*/ 127000 h 1885950"/>
                <a:gd name="connsiteX67" fmla="*/ 628650 w 2705100"/>
                <a:gd name="connsiteY67" fmla="*/ 171450 h 1885950"/>
                <a:gd name="connsiteX68" fmla="*/ 546100 w 2705100"/>
                <a:gd name="connsiteY68" fmla="*/ 165100 h 1885950"/>
                <a:gd name="connsiteX69" fmla="*/ 552450 w 2705100"/>
                <a:gd name="connsiteY69" fmla="*/ 292100 h 1885950"/>
                <a:gd name="connsiteX70" fmla="*/ 520700 w 2705100"/>
                <a:gd name="connsiteY70" fmla="*/ 342900 h 1885950"/>
                <a:gd name="connsiteX71" fmla="*/ 469900 w 2705100"/>
                <a:gd name="connsiteY71" fmla="*/ 381000 h 1885950"/>
                <a:gd name="connsiteX72" fmla="*/ 438150 w 2705100"/>
                <a:gd name="connsiteY72" fmla="*/ 469900 h 1885950"/>
                <a:gd name="connsiteX73" fmla="*/ 355600 w 2705100"/>
                <a:gd name="connsiteY73" fmla="*/ 469900 h 1885950"/>
                <a:gd name="connsiteX74" fmla="*/ 330200 w 2705100"/>
                <a:gd name="connsiteY74" fmla="*/ 508000 h 1885950"/>
                <a:gd name="connsiteX75" fmla="*/ 234950 w 2705100"/>
                <a:gd name="connsiteY75" fmla="*/ 457200 h 1885950"/>
                <a:gd name="connsiteX76" fmla="*/ 63500 w 2705100"/>
                <a:gd name="connsiteY76" fmla="*/ 425450 h 1885950"/>
                <a:gd name="connsiteX77" fmla="*/ 0 w 2705100"/>
                <a:gd name="connsiteY77" fmla="*/ 546100 h 1885950"/>
                <a:gd name="connsiteX78" fmla="*/ 57150 w 2705100"/>
                <a:gd name="connsiteY78" fmla="*/ 654050 h 1885950"/>
                <a:gd name="connsiteX79" fmla="*/ 127000 w 2705100"/>
                <a:gd name="connsiteY79" fmla="*/ 736600 h 1885950"/>
                <a:gd name="connsiteX80" fmla="*/ 266700 w 2705100"/>
                <a:gd name="connsiteY80" fmla="*/ 749300 h 1885950"/>
                <a:gd name="connsiteX81" fmla="*/ 457200 w 2705100"/>
                <a:gd name="connsiteY81" fmla="*/ 762000 h 1885950"/>
                <a:gd name="connsiteX82" fmla="*/ 615950 w 2705100"/>
                <a:gd name="connsiteY82" fmla="*/ 704850 h 1885950"/>
                <a:gd name="connsiteX83" fmla="*/ 742950 w 2705100"/>
                <a:gd name="connsiteY83" fmla="*/ 815975 h 1885950"/>
                <a:gd name="connsiteX84" fmla="*/ 835025 w 2705100"/>
                <a:gd name="connsiteY84" fmla="*/ 876300 h 1885950"/>
                <a:gd name="connsiteX85" fmla="*/ 939800 w 2705100"/>
                <a:gd name="connsiteY85" fmla="*/ 977900 h 1885950"/>
                <a:gd name="connsiteX86" fmla="*/ 1060450 w 2705100"/>
                <a:gd name="connsiteY86" fmla="*/ 1047750 h 1885950"/>
                <a:gd name="connsiteX87" fmla="*/ 1212850 w 2705100"/>
                <a:gd name="connsiteY87" fmla="*/ 1162050 h 1885950"/>
                <a:gd name="connsiteX88" fmla="*/ 1289050 w 2705100"/>
                <a:gd name="connsiteY88" fmla="*/ 1244600 h 1885950"/>
                <a:gd name="connsiteX89" fmla="*/ 1320800 w 2705100"/>
                <a:gd name="connsiteY89" fmla="*/ 1308100 h 1885950"/>
                <a:gd name="connsiteX90" fmla="*/ 1339850 w 2705100"/>
                <a:gd name="connsiteY90" fmla="*/ 1428750 h 1885950"/>
                <a:gd name="connsiteX91" fmla="*/ 1428750 w 2705100"/>
                <a:gd name="connsiteY91" fmla="*/ 1498600 h 1885950"/>
                <a:gd name="connsiteX92" fmla="*/ 1536700 w 2705100"/>
                <a:gd name="connsiteY92" fmla="*/ 1435100 h 1885950"/>
                <a:gd name="connsiteX93" fmla="*/ 1612900 w 2705100"/>
                <a:gd name="connsiteY93" fmla="*/ 1524000 h 1885950"/>
                <a:gd name="connsiteX94" fmla="*/ 1625600 w 2705100"/>
                <a:gd name="connsiteY94" fmla="*/ 1612900 h 1885950"/>
                <a:gd name="connsiteX95" fmla="*/ 1600200 w 2705100"/>
                <a:gd name="connsiteY95" fmla="*/ 1701800 h 1885950"/>
                <a:gd name="connsiteX96" fmla="*/ 1644650 w 2705100"/>
                <a:gd name="connsiteY96" fmla="*/ 1790700 h 1885950"/>
                <a:gd name="connsiteX97" fmla="*/ 1746250 w 2705100"/>
                <a:gd name="connsiteY97" fmla="*/ 1860550 h 1885950"/>
                <a:gd name="connsiteX98" fmla="*/ 1797050 w 2705100"/>
                <a:gd name="connsiteY98" fmla="*/ 1885950 h 1885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2705100" h="1885950">
                  <a:moveTo>
                    <a:pt x="1797050" y="1885950"/>
                  </a:moveTo>
                  <a:lnTo>
                    <a:pt x="1943100" y="1809750"/>
                  </a:lnTo>
                  <a:lnTo>
                    <a:pt x="2063750" y="1841500"/>
                  </a:lnTo>
                  <a:lnTo>
                    <a:pt x="2203450" y="1778000"/>
                  </a:lnTo>
                  <a:lnTo>
                    <a:pt x="2178050" y="1682750"/>
                  </a:lnTo>
                  <a:lnTo>
                    <a:pt x="2127250" y="1612900"/>
                  </a:lnTo>
                  <a:lnTo>
                    <a:pt x="2235200" y="1562100"/>
                  </a:lnTo>
                  <a:lnTo>
                    <a:pt x="2235200" y="1466850"/>
                  </a:lnTo>
                  <a:lnTo>
                    <a:pt x="2146300" y="1428750"/>
                  </a:lnTo>
                  <a:lnTo>
                    <a:pt x="2241550" y="1403350"/>
                  </a:lnTo>
                  <a:lnTo>
                    <a:pt x="2247900" y="1327150"/>
                  </a:lnTo>
                  <a:lnTo>
                    <a:pt x="2197100" y="1219200"/>
                  </a:lnTo>
                  <a:lnTo>
                    <a:pt x="2298700" y="1187450"/>
                  </a:lnTo>
                  <a:lnTo>
                    <a:pt x="2349500" y="1162050"/>
                  </a:lnTo>
                  <a:lnTo>
                    <a:pt x="2355850" y="1117600"/>
                  </a:lnTo>
                  <a:lnTo>
                    <a:pt x="2349500" y="1079500"/>
                  </a:lnTo>
                  <a:lnTo>
                    <a:pt x="2286000" y="1035050"/>
                  </a:lnTo>
                  <a:lnTo>
                    <a:pt x="2298700" y="996950"/>
                  </a:lnTo>
                  <a:lnTo>
                    <a:pt x="2476500" y="939800"/>
                  </a:lnTo>
                  <a:lnTo>
                    <a:pt x="2419350" y="825500"/>
                  </a:lnTo>
                  <a:lnTo>
                    <a:pt x="2400300" y="812800"/>
                  </a:lnTo>
                  <a:lnTo>
                    <a:pt x="2425700" y="755650"/>
                  </a:lnTo>
                  <a:lnTo>
                    <a:pt x="2425700" y="704850"/>
                  </a:lnTo>
                  <a:lnTo>
                    <a:pt x="2482850" y="654050"/>
                  </a:lnTo>
                  <a:lnTo>
                    <a:pt x="2679700" y="654050"/>
                  </a:lnTo>
                  <a:lnTo>
                    <a:pt x="2705100" y="603250"/>
                  </a:lnTo>
                  <a:lnTo>
                    <a:pt x="2635250" y="552450"/>
                  </a:lnTo>
                  <a:lnTo>
                    <a:pt x="2514600" y="533400"/>
                  </a:lnTo>
                  <a:lnTo>
                    <a:pt x="2501900" y="469900"/>
                  </a:lnTo>
                  <a:lnTo>
                    <a:pt x="2482850" y="419100"/>
                  </a:lnTo>
                  <a:lnTo>
                    <a:pt x="2419350" y="400050"/>
                  </a:lnTo>
                  <a:lnTo>
                    <a:pt x="2305050" y="374650"/>
                  </a:lnTo>
                  <a:lnTo>
                    <a:pt x="2216150" y="374650"/>
                  </a:lnTo>
                  <a:lnTo>
                    <a:pt x="2152650" y="450850"/>
                  </a:lnTo>
                  <a:lnTo>
                    <a:pt x="2152650" y="450850"/>
                  </a:lnTo>
                  <a:lnTo>
                    <a:pt x="2000250" y="317500"/>
                  </a:lnTo>
                  <a:lnTo>
                    <a:pt x="2057400" y="457200"/>
                  </a:lnTo>
                  <a:lnTo>
                    <a:pt x="1866900" y="457200"/>
                  </a:lnTo>
                  <a:lnTo>
                    <a:pt x="1784350" y="501650"/>
                  </a:lnTo>
                  <a:lnTo>
                    <a:pt x="1784350" y="603250"/>
                  </a:lnTo>
                  <a:lnTo>
                    <a:pt x="1733550" y="641350"/>
                  </a:lnTo>
                  <a:lnTo>
                    <a:pt x="1676400" y="622300"/>
                  </a:lnTo>
                  <a:lnTo>
                    <a:pt x="1549400" y="622300"/>
                  </a:lnTo>
                  <a:lnTo>
                    <a:pt x="1517650" y="558800"/>
                  </a:lnTo>
                  <a:lnTo>
                    <a:pt x="1460500" y="539750"/>
                  </a:lnTo>
                  <a:lnTo>
                    <a:pt x="1320800" y="584200"/>
                  </a:lnTo>
                  <a:lnTo>
                    <a:pt x="1416050" y="666750"/>
                  </a:lnTo>
                  <a:lnTo>
                    <a:pt x="1492250" y="704850"/>
                  </a:lnTo>
                  <a:lnTo>
                    <a:pt x="1530350" y="781050"/>
                  </a:lnTo>
                  <a:lnTo>
                    <a:pt x="1504950" y="825500"/>
                  </a:lnTo>
                  <a:lnTo>
                    <a:pt x="1416050" y="793750"/>
                  </a:lnTo>
                  <a:lnTo>
                    <a:pt x="1333500" y="755650"/>
                  </a:lnTo>
                  <a:lnTo>
                    <a:pt x="1263650" y="711200"/>
                  </a:lnTo>
                  <a:lnTo>
                    <a:pt x="1206500" y="635000"/>
                  </a:lnTo>
                  <a:lnTo>
                    <a:pt x="1174750" y="558800"/>
                  </a:lnTo>
                  <a:lnTo>
                    <a:pt x="1098550" y="488950"/>
                  </a:lnTo>
                  <a:lnTo>
                    <a:pt x="1098550" y="488950"/>
                  </a:lnTo>
                  <a:lnTo>
                    <a:pt x="1009650" y="298450"/>
                  </a:lnTo>
                  <a:lnTo>
                    <a:pt x="1028700" y="247650"/>
                  </a:lnTo>
                  <a:lnTo>
                    <a:pt x="1130300" y="228600"/>
                  </a:lnTo>
                  <a:lnTo>
                    <a:pt x="1206500" y="133350"/>
                  </a:lnTo>
                  <a:lnTo>
                    <a:pt x="1162050" y="44450"/>
                  </a:lnTo>
                  <a:lnTo>
                    <a:pt x="1041400" y="38100"/>
                  </a:lnTo>
                  <a:lnTo>
                    <a:pt x="920750" y="44450"/>
                  </a:lnTo>
                  <a:lnTo>
                    <a:pt x="819150" y="0"/>
                  </a:lnTo>
                  <a:lnTo>
                    <a:pt x="742950" y="95250"/>
                  </a:lnTo>
                  <a:lnTo>
                    <a:pt x="685800" y="127000"/>
                  </a:lnTo>
                  <a:lnTo>
                    <a:pt x="628650" y="171450"/>
                  </a:lnTo>
                  <a:lnTo>
                    <a:pt x="546100" y="165100"/>
                  </a:lnTo>
                  <a:lnTo>
                    <a:pt x="552450" y="292100"/>
                  </a:lnTo>
                  <a:lnTo>
                    <a:pt x="520700" y="342900"/>
                  </a:lnTo>
                  <a:lnTo>
                    <a:pt x="469900" y="381000"/>
                  </a:lnTo>
                  <a:lnTo>
                    <a:pt x="438150" y="469900"/>
                  </a:lnTo>
                  <a:lnTo>
                    <a:pt x="355600" y="469900"/>
                  </a:lnTo>
                  <a:lnTo>
                    <a:pt x="330200" y="508000"/>
                  </a:lnTo>
                  <a:lnTo>
                    <a:pt x="234950" y="457200"/>
                  </a:lnTo>
                  <a:lnTo>
                    <a:pt x="63500" y="425450"/>
                  </a:lnTo>
                  <a:lnTo>
                    <a:pt x="0" y="546100"/>
                  </a:lnTo>
                  <a:lnTo>
                    <a:pt x="57150" y="654050"/>
                  </a:lnTo>
                  <a:lnTo>
                    <a:pt x="127000" y="736600"/>
                  </a:lnTo>
                  <a:lnTo>
                    <a:pt x="266700" y="749300"/>
                  </a:lnTo>
                  <a:lnTo>
                    <a:pt x="457200" y="762000"/>
                  </a:lnTo>
                  <a:cubicBezTo>
                    <a:pt x="510117" y="742950"/>
                    <a:pt x="568325" y="695854"/>
                    <a:pt x="615950" y="704850"/>
                  </a:cubicBezTo>
                  <a:cubicBezTo>
                    <a:pt x="663575" y="713846"/>
                    <a:pt x="700617" y="778933"/>
                    <a:pt x="742950" y="815975"/>
                  </a:cubicBezTo>
                  <a:lnTo>
                    <a:pt x="835025" y="876300"/>
                  </a:lnTo>
                  <a:lnTo>
                    <a:pt x="939800" y="977900"/>
                  </a:lnTo>
                  <a:lnTo>
                    <a:pt x="1060450" y="1047750"/>
                  </a:lnTo>
                  <a:lnTo>
                    <a:pt x="1212850" y="1162050"/>
                  </a:lnTo>
                  <a:lnTo>
                    <a:pt x="1289050" y="1244600"/>
                  </a:lnTo>
                  <a:lnTo>
                    <a:pt x="1320800" y="1308100"/>
                  </a:lnTo>
                  <a:lnTo>
                    <a:pt x="1339850" y="1428750"/>
                  </a:lnTo>
                  <a:lnTo>
                    <a:pt x="1428750" y="1498600"/>
                  </a:lnTo>
                  <a:lnTo>
                    <a:pt x="1536700" y="1435100"/>
                  </a:lnTo>
                  <a:lnTo>
                    <a:pt x="1612900" y="1524000"/>
                  </a:lnTo>
                  <a:lnTo>
                    <a:pt x="1625600" y="1612900"/>
                  </a:lnTo>
                  <a:lnTo>
                    <a:pt x="1600200" y="1701800"/>
                  </a:lnTo>
                  <a:lnTo>
                    <a:pt x="1644650" y="1790700"/>
                  </a:lnTo>
                  <a:lnTo>
                    <a:pt x="1746250" y="1860550"/>
                  </a:lnTo>
                  <a:lnTo>
                    <a:pt x="1797050" y="18859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5" name="Figura a mano libera: forma 344">
              <a:extLst>
                <a:ext uri="{FF2B5EF4-FFF2-40B4-BE49-F238E27FC236}">
                  <a16:creationId xmlns="" xmlns:a16="http://schemas.microsoft.com/office/drawing/2014/main" id="{9FA11CDD-4192-49FA-87C1-FCFC430B2F7A}"/>
                </a:ext>
              </a:extLst>
            </p:cNvPr>
            <p:cNvSpPr/>
            <p:nvPr/>
          </p:nvSpPr>
          <p:spPr bwMode="auto">
            <a:xfrm>
              <a:off x="1233984" y="2266950"/>
              <a:ext cx="1885950" cy="1498600"/>
            </a:xfrm>
            <a:custGeom>
              <a:avLst/>
              <a:gdLst>
                <a:gd name="connsiteX0" fmla="*/ 203200 w 1885950"/>
                <a:gd name="connsiteY0" fmla="*/ 0 h 1498600"/>
                <a:gd name="connsiteX1" fmla="*/ 298450 w 1885950"/>
                <a:gd name="connsiteY1" fmla="*/ 50800 h 1498600"/>
                <a:gd name="connsiteX2" fmla="*/ 482600 w 1885950"/>
                <a:gd name="connsiteY2" fmla="*/ 63500 h 1498600"/>
                <a:gd name="connsiteX3" fmla="*/ 571500 w 1885950"/>
                <a:gd name="connsiteY3" fmla="*/ 69850 h 1498600"/>
                <a:gd name="connsiteX4" fmla="*/ 660400 w 1885950"/>
                <a:gd name="connsiteY4" fmla="*/ 38100 h 1498600"/>
                <a:gd name="connsiteX5" fmla="*/ 882650 w 1885950"/>
                <a:gd name="connsiteY5" fmla="*/ 38100 h 1498600"/>
                <a:gd name="connsiteX6" fmla="*/ 946150 w 1885950"/>
                <a:gd name="connsiteY6" fmla="*/ 139700 h 1498600"/>
                <a:gd name="connsiteX7" fmla="*/ 1041400 w 1885950"/>
                <a:gd name="connsiteY7" fmla="*/ 190500 h 1498600"/>
                <a:gd name="connsiteX8" fmla="*/ 1168400 w 1885950"/>
                <a:gd name="connsiteY8" fmla="*/ 292100 h 1498600"/>
                <a:gd name="connsiteX9" fmla="*/ 1225550 w 1885950"/>
                <a:gd name="connsiteY9" fmla="*/ 361950 h 1498600"/>
                <a:gd name="connsiteX10" fmla="*/ 1308100 w 1885950"/>
                <a:gd name="connsiteY10" fmla="*/ 450850 h 1498600"/>
                <a:gd name="connsiteX11" fmla="*/ 1422400 w 1885950"/>
                <a:gd name="connsiteY11" fmla="*/ 508000 h 1498600"/>
                <a:gd name="connsiteX12" fmla="*/ 1479550 w 1885950"/>
                <a:gd name="connsiteY12" fmla="*/ 558800 h 1498600"/>
                <a:gd name="connsiteX13" fmla="*/ 1517650 w 1885950"/>
                <a:gd name="connsiteY13" fmla="*/ 641350 h 1498600"/>
                <a:gd name="connsiteX14" fmla="*/ 1517650 w 1885950"/>
                <a:gd name="connsiteY14" fmla="*/ 723900 h 1498600"/>
                <a:gd name="connsiteX15" fmla="*/ 1619250 w 1885950"/>
                <a:gd name="connsiteY15" fmla="*/ 787400 h 1498600"/>
                <a:gd name="connsiteX16" fmla="*/ 1720850 w 1885950"/>
                <a:gd name="connsiteY16" fmla="*/ 755650 h 1498600"/>
                <a:gd name="connsiteX17" fmla="*/ 1771650 w 1885950"/>
                <a:gd name="connsiteY17" fmla="*/ 825500 h 1498600"/>
                <a:gd name="connsiteX18" fmla="*/ 1885950 w 1885950"/>
                <a:gd name="connsiteY18" fmla="*/ 908050 h 1498600"/>
                <a:gd name="connsiteX19" fmla="*/ 1847850 w 1885950"/>
                <a:gd name="connsiteY19" fmla="*/ 1016000 h 1498600"/>
                <a:gd name="connsiteX20" fmla="*/ 1847850 w 1885950"/>
                <a:gd name="connsiteY20" fmla="*/ 1136650 h 1498600"/>
                <a:gd name="connsiteX21" fmla="*/ 1847850 w 1885950"/>
                <a:gd name="connsiteY21" fmla="*/ 1206500 h 1498600"/>
                <a:gd name="connsiteX22" fmla="*/ 1860550 w 1885950"/>
                <a:gd name="connsiteY22" fmla="*/ 1289050 h 1498600"/>
                <a:gd name="connsiteX23" fmla="*/ 1885950 w 1885950"/>
                <a:gd name="connsiteY23" fmla="*/ 1346200 h 1498600"/>
                <a:gd name="connsiteX24" fmla="*/ 1828800 w 1885950"/>
                <a:gd name="connsiteY24" fmla="*/ 1479550 h 1498600"/>
                <a:gd name="connsiteX25" fmla="*/ 1695450 w 1885950"/>
                <a:gd name="connsiteY25" fmla="*/ 1498600 h 1498600"/>
                <a:gd name="connsiteX26" fmla="*/ 1651000 w 1885950"/>
                <a:gd name="connsiteY26" fmla="*/ 1422400 h 1498600"/>
                <a:gd name="connsiteX27" fmla="*/ 1581150 w 1885950"/>
                <a:gd name="connsiteY27" fmla="*/ 1473200 h 1498600"/>
                <a:gd name="connsiteX28" fmla="*/ 1504950 w 1885950"/>
                <a:gd name="connsiteY28" fmla="*/ 1339850 h 1498600"/>
                <a:gd name="connsiteX29" fmla="*/ 1428750 w 1885950"/>
                <a:gd name="connsiteY29" fmla="*/ 1295400 h 1498600"/>
                <a:gd name="connsiteX30" fmla="*/ 1333500 w 1885950"/>
                <a:gd name="connsiteY30" fmla="*/ 1308100 h 1498600"/>
                <a:gd name="connsiteX31" fmla="*/ 1301750 w 1885950"/>
                <a:gd name="connsiteY31" fmla="*/ 1212850 h 1498600"/>
                <a:gd name="connsiteX32" fmla="*/ 1130300 w 1885950"/>
                <a:gd name="connsiteY32" fmla="*/ 1206500 h 1498600"/>
                <a:gd name="connsiteX33" fmla="*/ 984250 w 1885950"/>
                <a:gd name="connsiteY33" fmla="*/ 1250950 h 1498600"/>
                <a:gd name="connsiteX34" fmla="*/ 869950 w 1885950"/>
                <a:gd name="connsiteY34" fmla="*/ 1168400 h 1498600"/>
                <a:gd name="connsiteX35" fmla="*/ 742950 w 1885950"/>
                <a:gd name="connsiteY35" fmla="*/ 1136650 h 1498600"/>
                <a:gd name="connsiteX36" fmla="*/ 685800 w 1885950"/>
                <a:gd name="connsiteY36" fmla="*/ 1123950 h 1498600"/>
                <a:gd name="connsiteX37" fmla="*/ 628650 w 1885950"/>
                <a:gd name="connsiteY37" fmla="*/ 863600 h 1498600"/>
                <a:gd name="connsiteX38" fmla="*/ 577850 w 1885950"/>
                <a:gd name="connsiteY38" fmla="*/ 819150 h 1498600"/>
                <a:gd name="connsiteX39" fmla="*/ 444500 w 1885950"/>
                <a:gd name="connsiteY39" fmla="*/ 819150 h 1498600"/>
                <a:gd name="connsiteX40" fmla="*/ 387350 w 1885950"/>
                <a:gd name="connsiteY40" fmla="*/ 781050 h 1498600"/>
                <a:gd name="connsiteX41" fmla="*/ 317500 w 1885950"/>
                <a:gd name="connsiteY41" fmla="*/ 774700 h 1498600"/>
                <a:gd name="connsiteX42" fmla="*/ 273050 w 1885950"/>
                <a:gd name="connsiteY42" fmla="*/ 736600 h 1498600"/>
                <a:gd name="connsiteX43" fmla="*/ 158750 w 1885950"/>
                <a:gd name="connsiteY43" fmla="*/ 673100 h 1498600"/>
                <a:gd name="connsiteX44" fmla="*/ 76200 w 1885950"/>
                <a:gd name="connsiteY44" fmla="*/ 749300 h 1498600"/>
                <a:gd name="connsiteX45" fmla="*/ 76200 w 1885950"/>
                <a:gd name="connsiteY45" fmla="*/ 641350 h 1498600"/>
                <a:gd name="connsiteX46" fmla="*/ 69850 w 1885950"/>
                <a:gd name="connsiteY46" fmla="*/ 577850 h 1498600"/>
                <a:gd name="connsiteX47" fmla="*/ 63500 w 1885950"/>
                <a:gd name="connsiteY47" fmla="*/ 488950 h 1498600"/>
                <a:gd name="connsiteX48" fmla="*/ 0 w 1885950"/>
                <a:gd name="connsiteY48" fmla="*/ 393700 h 1498600"/>
                <a:gd name="connsiteX49" fmla="*/ 19050 w 1885950"/>
                <a:gd name="connsiteY49" fmla="*/ 279400 h 1498600"/>
                <a:gd name="connsiteX50" fmla="*/ 95250 w 1885950"/>
                <a:gd name="connsiteY50" fmla="*/ 260350 h 1498600"/>
                <a:gd name="connsiteX51" fmla="*/ 177800 w 1885950"/>
                <a:gd name="connsiteY51" fmla="*/ 222250 h 1498600"/>
                <a:gd name="connsiteX52" fmla="*/ 184150 w 1885950"/>
                <a:gd name="connsiteY52" fmla="*/ 101600 h 1498600"/>
                <a:gd name="connsiteX53" fmla="*/ 203200 w 1885950"/>
                <a:gd name="connsiteY53" fmla="*/ 0 h 149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885950" h="1498600">
                  <a:moveTo>
                    <a:pt x="203200" y="0"/>
                  </a:moveTo>
                  <a:lnTo>
                    <a:pt x="298450" y="50800"/>
                  </a:lnTo>
                  <a:lnTo>
                    <a:pt x="482600" y="63500"/>
                  </a:lnTo>
                  <a:lnTo>
                    <a:pt x="571500" y="69850"/>
                  </a:lnTo>
                  <a:lnTo>
                    <a:pt x="660400" y="38100"/>
                  </a:lnTo>
                  <a:lnTo>
                    <a:pt x="882650" y="38100"/>
                  </a:lnTo>
                  <a:lnTo>
                    <a:pt x="946150" y="139700"/>
                  </a:lnTo>
                  <a:lnTo>
                    <a:pt x="1041400" y="190500"/>
                  </a:lnTo>
                  <a:lnTo>
                    <a:pt x="1168400" y="292100"/>
                  </a:lnTo>
                  <a:lnTo>
                    <a:pt x="1225550" y="361950"/>
                  </a:lnTo>
                  <a:lnTo>
                    <a:pt x="1308100" y="450850"/>
                  </a:lnTo>
                  <a:lnTo>
                    <a:pt x="1422400" y="508000"/>
                  </a:lnTo>
                  <a:lnTo>
                    <a:pt x="1479550" y="558800"/>
                  </a:lnTo>
                  <a:lnTo>
                    <a:pt x="1517650" y="641350"/>
                  </a:lnTo>
                  <a:lnTo>
                    <a:pt x="1517650" y="723900"/>
                  </a:lnTo>
                  <a:lnTo>
                    <a:pt x="1619250" y="787400"/>
                  </a:lnTo>
                  <a:lnTo>
                    <a:pt x="1720850" y="755650"/>
                  </a:lnTo>
                  <a:lnTo>
                    <a:pt x="1771650" y="825500"/>
                  </a:lnTo>
                  <a:lnTo>
                    <a:pt x="1885950" y="908050"/>
                  </a:lnTo>
                  <a:lnTo>
                    <a:pt x="1847850" y="1016000"/>
                  </a:lnTo>
                  <a:lnTo>
                    <a:pt x="1847850" y="1136650"/>
                  </a:lnTo>
                  <a:lnTo>
                    <a:pt x="1847850" y="1206500"/>
                  </a:lnTo>
                  <a:lnTo>
                    <a:pt x="1860550" y="1289050"/>
                  </a:lnTo>
                  <a:lnTo>
                    <a:pt x="1885950" y="1346200"/>
                  </a:lnTo>
                  <a:lnTo>
                    <a:pt x="1828800" y="1479550"/>
                  </a:lnTo>
                  <a:lnTo>
                    <a:pt x="1695450" y="1498600"/>
                  </a:lnTo>
                  <a:lnTo>
                    <a:pt x="1651000" y="1422400"/>
                  </a:lnTo>
                  <a:lnTo>
                    <a:pt x="1581150" y="1473200"/>
                  </a:lnTo>
                  <a:lnTo>
                    <a:pt x="1504950" y="1339850"/>
                  </a:lnTo>
                  <a:lnTo>
                    <a:pt x="1428750" y="1295400"/>
                  </a:lnTo>
                  <a:lnTo>
                    <a:pt x="1333500" y="1308100"/>
                  </a:lnTo>
                  <a:lnTo>
                    <a:pt x="1301750" y="1212850"/>
                  </a:lnTo>
                  <a:lnTo>
                    <a:pt x="1130300" y="1206500"/>
                  </a:lnTo>
                  <a:lnTo>
                    <a:pt x="984250" y="1250950"/>
                  </a:lnTo>
                  <a:lnTo>
                    <a:pt x="869950" y="1168400"/>
                  </a:lnTo>
                  <a:lnTo>
                    <a:pt x="742950" y="1136650"/>
                  </a:lnTo>
                  <a:lnTo>
                    <a:pt x="685800" y="1123950"/>
                  </a:lnTo>
                  <a:lnTo>
                    <a:pt x="628650" y="863600"/>
                  </a:lnTo>
                  <a:lnTo>
                    <a:pt x="577850" y="819150"/>
                  </a:lnTo>
                  <a:lnTo>
                    <a:pt x="444500" y="819150"/>
                  </a:lnTo>
                  <a:lnTo>
                    <a:pt x="387350" y="781050"/>
                  </a:lnTo>
                  <a:lnTo>
                    <a:pt x="317500" y="774700"/>
                  </a:lnTo>
                  <a:lnTo>
                    <a:pt x="273050" y="736600"/>
                  </a:lnTo>
                  <a:lnTo>
                    <a:pt x="158750" y="673100"/>
                  </a:lnTo>
                  <a:lnTo>
                    <a:pt x="76200" y="749300"/>
                  </a:lnTo>
                  <a:lnTo>
                    <a:pt x="76200" y="641350"/>
                  </a:lnTo>
                  <a:lnTo>
                    <a:pt x="69850" y="577850"/>
                  </a:lnTo>
                  <a:lnTo>
                    <a:pt x="63500" y="488950"/>
                  </a:lnTo>
                  <a:lnTo>
                    <a:pt x="0" y="393700"/>
                  </a:lnTo>
                  <a:lnTo>
                    <a:pt x="19050" y="279400"/>
                  </a:lnTo>
                  <a:lnTo>
                    <a:pt x="95250" y="260350"/>
                  </a:lnTo>
                  <a:lnTo>
                    <a:pt x="177800" y="222250"/>
                  </a:lnTo>
                  <a:lnTo>
                    <a:pt x="184150" y="101600"/>
                  </a:lnTo>
                  <a:lnTo>
                    <a:pt x="203200" y="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6" name="Figura a mano libera: forma 345">
              <a:extLst>
                <a:ext uri="{FF2B5EF4-FFF2-40B4-BE49-F238E27FC236}">
                  <a16:creationId xmlns="" xmlns:a16="http://schemas.microsoft.com/office/drawing/2014/main" id="{56B3D3F4-E2AA-4D53-9C85-F045AB820F2B}"/>
                </a:ext>
              </a:extLst>
            </p:cNvPr>
            <p:cNvSpPr/>
            <p:nvPr/>
          </p:nvSpPr>
          <p:spPr bwMode="auto">
            <a:xfrm>
              <a:off x="1424484" y="3117850"/>
              <a:ext cx="1803400" cy="876300"/>
            </a:xfrm>
            <a:custGeom>
              <a:avLst/>
              <a:gdLst>
                <a:gd name="connsiteX0" fmla="*/ 12700 w 1803400"/>
                <a:gd name="connsiteY0" fmla="*/ 571500 h 876300"/>
                <a:gd name="connsiteX1" fmla="*/ 76200 w 1803400"/>
                <a:gd name="connsiteY1" fmla="*/ 463550 h 876300"/>
                <a:gd name="connsiteX2" fmla="*/ 196850 w 1803400"/>
                <a:gd name="connsiteY2" fmla="*/ 368300 h 876300"/>
                <a:gd name="connsiteX3" fmla="*/ 323850 w 1803400"/>
                <a:gd name="connsiteY3" fmla="*/ 158750 h 876300"/>
                <a:gd name="connsiteX4" fmla="*/ 406400 w 1803400"/>
                <a:gd name="connsiteY4" fmla="*/ 0 h 876300"/>
                <a:gd name="connsiteX5" fmla="*/ 476250 w 1803400"/>
                <a:gd name="connsiteY5" fmla="*/ 0 h 876300"/>
                <a:gd name="connsiteX6" fmla="*/ 488950 w 1803400"/>
                <a:gd name="connsiteY6" fmla="*/ 171450 h 876300"/>
                <a:gd name="connsiteX7" fmla="*/ 527050 w 1803400"/>
                <a:gd name="connsiteY7" fmla="*/ 260350 h 876300"/>
                <a:gd name="connsiteX8" fmla="*/ 622300 w 1803400"/>
                <a:gd name="connsiteY8" fmla="*/ 266700 h 876300"/>
                <a:gd name="connsiteX9" fmla="*/ 723900 w 1803400"/>
                <a:gd name="connsiteY9" fmla="*/ 298450 h 876300"/>
                <a:gd name="connsiteX10" fmla="*/ 831850 w 1803400"/>
                <a:gd name="connsiteY10" fmla="*/ 381000 h 876300"/>
                <a:gd name="connsiteX11" fmla="*/ 984250 w 1803400"/>
                <a:gd name="connsiteY11" fmla="*/ 361950 h 876300"/>
                <a:gd name="connsiteX12" fmla="*/ 1016000 w 1803400"/>
                <a:gd name="connsiteY12" fmla="*/ 361950 h 876300"/>
                <a:gd name="connsiteX13" fmla="*/ 1130300 w 1803400"/>
                <a:gd name="connsiteY13" fmla="*/ 444500 h 876300"/>
                <a:gd name="connsiteX14" fmla="*/ 1301750 w 1803400"/>
                <a:gd name="connsiteY14" fmla="*/ 450850 h 876300"/>
                <a:gd name="connsiteX15" fmla="*/ 1358900 w 1803400"/>
                <a:gd name="connsiteY15" fmla="*/ 457200 h 876300"/>
                <a:gd name="connsiteX16" fmla="*/ 1377950 w 1803400"/>
                <a:gd name="connsiteY16" fmla="*/ 577850 h 876300"/>
                <a:gd name="connsiteX17" fmla="*/ 1441450 w 1803400"/>
                <a:gd name="connsiteY17" fmla="*/ 615950 h 876300"/>
                <a:gd name="connsiteX18" fmla="*/ 1504950 w 1803400"/>
                <a:gd name="connsiteY18" fmla="*/ 584200 h 876300"/>
                <a:gd name="connsiteX19" fmla="*/ 1568450 w 1803400"/>
                <a:gd name="connsiteY19" fmla="*/ 635000 h 876300"/>
                <a:gd name="connsiteX20" fmla="*/ 1638300 w 1803400"/>
                <a:gd name="connsiteY20" fmla="*/ 641350 h 876300"/>
                <a:gd name="connsiteX21" fmla="*/ 1733550 w 1803400"/>
                <a:gd name="connsiteY21" fmla="*/ 679450 h 876300"/>
                <a:gd name="connsiteX22" fmla="*/ 1765300 w 1803400"/>
                <a:gd name="connsiteY22" fmla="*/ 711200 h 876300"/>
                <a:gd name="connsiteX23" fmla="*/ 1803400 w 1803400"/>
                <a:gd name="connsiteY23" fmla="*/ 819150 h 876300"/>
                <a:gd name="connsiteX24" fmla="*/ 1651000 w 1803400"/>
                <a:gd name="connsiteY24" fmla="*/ 812800 h 876300"/>
                <a:gd name="connsiteX25" fmla="*/ 1422400 w 1803400"/>
                <a:gd name="connsiteY25" fmla="*/ 800100 h 876300"/>
                <a:gd name="connsiteX26" fmla="*/ 1390650 w 1803400"/>
                <a:gd name="connsiteY26" fmla="*/ 812800 h 876300"/>
                <a:gd name="connsiteX27" fmla="*/ 1276350 w 1803400"/>
                <a:gd name="connsiteY27" fmla="*/ 787400 h 876300"/>
                <a:gd name="connsiteX28" fmla="*/ 1193800 w 1803400"/>
                <a:gd name="connsiteY28" fmla="*/ 863600 h 876300"/>
                <a:gd name="connsiteX29" fmla="*/ 1028700 w 1803400"/>
                <a:gd name="connsiteY29" fmla="*/ 844550 h 876300"/>
                <a:gd name="connsiteX30" fmla="*/ 908050 w 1803400"/>
                <a:gd name="connsiteY30" fmla="*/ 819150 h 876300"/>
                <a:gd name="connsiteX31" fmla="*/ 793750 w 1803400"/>
                <a:gd name="connsiteY31" fmla="*/ 876300 h 876300"/>
                <a:gd name="connsiteX32" fmla="*/ 539750 w 1803400"/>
                <a:gd name="connsiteY32" fmla="*/ 869950 h 876300"/>
                <a:gd name="connsiteX33" fmla="*/ 342900 w 1803400"/>
                <a:gd name="connsiteY33" fmla="*/ 844550 h 876300"/>
                <a:gd name="connsiteX34" fmla="*/ 133350 w 1803400"/>
                <a:gd name="connsiteY34" fmla="*/ 755650 h 876300"/>
                <a:gd name="connsiteX35" fmla="*/ 0 w 1803400"/>
                <a:gd name="connsiteY35" fmla="*/ 660400 h 876300"/>
                <a:gd name="connsiteX36" fmla="*/ 12700 w 1803400"/>
                <a:gd name="connsiteY36" fmla="*/ 571500 h 876300"/>
                <a:gd name="connsiteX0" fmla="*/ 12700 w 1803400"/>
                <a:gd name="connsiteY0" fmla="*/ 571500 h 876300"/>
                <a:gd name="connsiteX1" fmla="*/ 76200 w 1803400"/>
                <a:gd name="connsiteY1" fmla="*/ 463550 h 876300"/>
                <a:gd name="connsiteX2" fmla="*/ 196850 w 1803400"/>
                <a:gd name="connsiteY2" fmla="*/ 368300 h 876300"/>
                <a:gd name="connsiteX3" fmla="*/ 323850 w 1803400"/>
                <a:gd name="connsiteY3" fmla="*/ 158750 h 876300"/>
                <a:gd name="connsiteX4" fmla="*/ 406400 w 1803400"/>
                <a:gd name="connsiteY4" fmla="*/ 0 h 876300"/>
                <a:gd name="connsiteX5" fmla="*/ 476250 w 1803400"/>
                <a:gd name="connsiteY5" fmla="*/ 0 h 876300"/>
                <a:gd name="connsiteX6" fmla="*/ 488950 w 1803400"/>
                <a:gd name="connsiteY6" fmla="*/ 171450 h 876300"/>
                <a:gd name="connsiteX7" fmla="*/ 527050 w 1803400"/>
                <a:gd name="connsiteY7" fmla="*/ 260350 h 876300"/>
                <a:gd name="connsiteX8" fmla="*/ 622300 w 1803400"/>
                <a:gd name="connsiteY8" fmla="*/ 266700 h 876300"/>
                <a:gd name="connsiteX9" fmla="*/ 723900 w 1803400"/>
                <a:gd name="connsiteY9" fmla="*/ 298450 h 876300"/>
                <a:gd name="connsiteX10" fmla="*/ 831850 w 1803400"/>
                <a:gd name="connsiteY10" fmla="*/ 381000 h 876300"/>
                <a:gd name="connsiteX11" fmla="*/ 984250 w 1803400"/>
                <a:gd name="connsiteY11" fmla="*/ 361950 h 876300"/>
                <a:gd name="connsiteX12" fmla="*/ 1016000 w 1803400"/>
                <a:gd name="connsiteY12" fmla="*/ 361950 h 876300"/>
                <a:gd name="connsiteX13" fmla="*/ 1125538 w 1803400"/>
                <a:gd name="connsiteY13" fmla="*/ 349250 h 876300"/>
                <a:gd name="connsiteX14" fmla="*/ 1130300 w 1803400"/>
                <a:gd name="connsiteY14" fmla="*/ 444500 h 876300"/>
                <a:gd name="connsiteX15" fmla="*/ 1301750 w 1803400"/>
                <a:gd name="connsiteY15" fmla="*/ 450850 h 876300"/>
                <a:gd name="connsiteX16" fmla="*/ 1358900 w 1803400"/>
                <a:gd name="connsiteY16" fmla="*/ 457200 h 876300"/>
                <a:gd name="connsiteX17" fmla="*/ 1377950 w 1803400"/>
                <a:gd name="connsiteY17" fmla="*/ 577850 h 876300"/>
                <a:gd name="connsiteX18" fmla="*/ 1441450 w 1803400"/>
                <a:gd name="connsiteY18" fmla="*/ 615950 h 876300"/>
                <a:gd name="connsiteX19" fmla="*/ 1504950 w 1803400"/>
                <a:gd name="connsiteY19" fmla="*/ 584200 h 876300"/>
                <a:gd name="connsiteX20" fmla="*/ 1568450 w 1803400"/>
                <a:gd name="connsiteY20" fmla="*/ 635000 h 876300"/>
                <a:gd name="connsiteX21" fmla="*/ 1638300 w 1803400"/>
                <a:gd name="connsiteY21" fmla="*/ 641350 h 876300"/>
                <a:gd name="connsiteX22" fmla="*/ 1733550 w 1803400"/>
                <a:gd name="connsiteY22" fmla="*/ 679450 h 876300"/>
                <a:gd name="connsiteX23" fmla="*/ 1765300 w 1803400"/>
                <a:gd name="connsiteY23" fmla="*/ 711200 h 876300"/>
                <a:gd name="connsiteX24" fmla="*/ 1803400 w 1803400"/>
                <a:gd name="connsiteY24" fmla="*/ 819150 h 876300"/>
                <a:gd name="connsiteX25" fmla="*/ 1651000 w 1803400"/>
                <a:gd name="connsiteY25" fmla="*/ 812800 h 876300"/>
                <a:gd name="connsiteX26" fmla="*/ 1422400 w 1803400"/>
                <a:gd name="connsiteY26" fmla="*/ 800100 h 876300"/>
                <a:gd name="connsiteX27" fmla="*/ 1390650 w 1803400"/>
                <a:gd name="connsiteY27" fmla="*/ 812800 h 876300"/>
                <a:gd name="connsiteX28" fmla="*/ 1276350 w 1803400"/>
                <a:gd name="connsiteY28" fmla="*/ 787400 h 876300"/>
                <a:gd name="connsiteX29" fmla="*/ 1193800 w 1803400"/>
                <a:gd name="connsiteY29" fmla="*/ 863600 h 876300"/>
                <a:gd name="connsiteX30" fmla="*/ 1028700 w 1803400"/>
                <a:gd name="connsiteY30" fmla="*/ 844550 h 876300"/>
                <a:gd name="connsiteX31" fmla="*/ 908050 w 1803400"/>
                <a:gd name="connsiteY31" fmla="*/ 819150 h 876300"/>
                <a:gd name="connsiteX32" fmla="*/ 793750 w 1803400"/>
                <a:gd name="connsiteY32" fmla="*/ 876300 h 876300"/>
                <a:gd name="connsiteX33" fmla="*/ 539750 w 1803400"/>
                <a:gd name="connsiteY33" fmla="*/ 869950 h 876300"/>
                <a:gd name="connsiteX34" fmla="*/ 342900 w 1803400"/>
                <a:gd name="connsiteY34" fmla="*/ 844550 h 876300"/>
                <a:gd name="connsiteX35" fmla="*/ 133350 w 1803400"/>
                <a:gd name="connsiteY35" fmla="*/ 755650 h 876300"/>
                <a:gd name="connsiteX36" fmla="*/ 0 w 1803400"/>
                <a:gd name="connsiteY36" fmla="*/ 660400 h 876300"/>
                <a:gd name="connsiteX37" fmla="*/ 12700 w 1803400"/>
                <a:gd name="connsiteY37" fmla="*/ 571500 h 876300"/>
                <a:gd name="connsiteX0" fmla="*/ 12700 w 1803400"/>
                <a:gd name="connsiteY0" fmla="*/ 571500 h 876300"/>
                <a:gd name="connsiteX1" fmla="*/ 76200 w 1803400"/>
                <a:gd name="connsiteY1" fmla="*/ 463550 h 876300"/>
                <a:gd name="connsiteX2" fmla="*/ 196850 w 1803400"/>
                <a:gd name="connsiteY2" fmla="*/ 368300 h 876300"/>
                <a:gd name="connsiteX3" fmla="*/ 323850 w 1803400"/>
                <a:gd name="connsiteY3" fmla="*/ 158750 h 876300"/>
                <a:gd name="connsiteX4" fmla="*/ 406400 w 1803400"/>
                <a:gd name="connsiteY4" fmla="*/ 0 h 876300"/>
                <a:gd name="connsiteX5" fmla="*/ 476250 w 1803400"/>
                <a:gd name="connsiteY5" fmla="*/ 0 h 876300"/>
                <a:gd name="connsiteX6" fmla="*/ 488950 w 1803400"/>
                <a:gd name="connsiteY6" fmla="*/ 171450 h 876300"/>
                <a:gd name="connsiteX7" fmla="*/ 527050 w 1803400"/>
                <a:gd name="connsiteY7" fmla="*/ 260350 h 876300"/>
                <a:gd name="connsiteX8" fmla="*/ 622300 w 1803400"/>
                <a:gd name="connsiteY8" fmla="*/ 266700 h 876300"/>
                <a:gd name="connsiteX9" fmla="*/ 723900 w 1803400"/>
                <a:gd name="connsiteY9" fmla="*/ 298450 h 876300"/>
                <a:gd name="connsiteX10" fmla="*/ 831850 w 1803400"/>
                <a:gd name="connsiteY10" fmla="*/ 381000 h 876300"/>
                <a:gd name="connsiteX11" fmla="*/ 984250 w 1803400"/>
                <a:gd name="connsiteY11" fmla="*/ 361950 h 876300"/>
                <a:gd name="connsiteX12" fmla="*/ 1016000 w 1803400"/>
                <a:gd name="connsiteY12" fmla="*/ 361950 h 876300"/>
                <a:gd name="connsiteX13" fmla="*/ 1125538 w 1803400"/>
                <a:gd name="connsiteY13" fmla="*/ 349250 h 876300"/>
                <a:gd name="connsiteX14" fmla="*/ 1154113 w 1803400"/>
                <a:gd name="connsiteY14" fmla="*/ 434975 h 876300"/>
                <a:gd name="connsiteX15" fmla="*/ 1301750 w 1803400"/>
                <a:gd name="connsiteY15" fmla="*/ 450850 h 876300"/>
                <a:gd name="connsiteX16" fmla="*/ 1358900 w 1803400"/>
                <a:gd name="connsiteY16" fmla="*/ 457200 h 876300"/>
                <a:gd name="connsiteX17" fmla="*/ 1377950 w 1803400"/>
                <a:gd name="connsiteY17" fmla="*/ 577850 h 876300"/>
                <a:gd name="connsiteX18" fmla="*/ 1441450 w 1803400"/>
                <a:gd name="connsiteY18" fmla="*/ 615950 h 876300"/>
                <a:gd name="connsiteX19" fmla="*/ 1504950 w 1803400"/>
                <a:gd name="connsiteY19" fmla="*/ 584200 h 876300"/>
                <a:gd name="connsiteX20" fmla="*/ 1568450 w 1803400"/>
                <a:gd name="connsiteY20" fmla="*/ 635000 h 876300"/>
                <a:gd name="connsiteX21" fmla="*/ 1638300 w 1803400"/>
                <a:gd name="connsiteY21" fmla="*/ 641350 h 876300"/>
                <a:gd name="connsiteX22" fmla="*/ 1733550 w 1803400"/>
                <a:gd name="connsiteY22" fmla="*/ 679450 h 876300"/>
                <a:gd name="connsiteX23" fmla="*/ 1765300 w 1803400"/>
                <a:gd name="connsiteY23" fmla="*/ 711200 h 876300"/>
                <a:gd name="connsiteX24" fmla="*/ 1803400 w 1803400"/>
                <a:gd name="connsiteY24" fmla="*/ 819150 h 876300"/>
                <a:gd name="connsiteX25" fmla="*/ 1651000 w 1803400"/>
                <a:gd name="connsiteY25" fmla="*/ 812800 h 876300"/>
                <a:gd name="connsiteX26" fmla="*/ 1422400 w 1803400"/>
                <a:gd name="connsiteY26" fmla="*/ 800100 h 876300"/>
                <a:gd name="connsiteX27" fmla="*/ 1390650 w 1803400"/>
                <a:gd name="connsiteY27" fmla="*/ 812800 h 876300"/>
                <a:gd name="connsiteX28" fmla="*/ 1276350 w 1803400"/>
                <a:gd name="connsiteY28" fmla="*/ 787400 h 876300"/>
                <a:gd name="connsiteX29" fmla="*/ 1193800 w 1803400"/>
                <a:gd name="connsiteY29" fmla="*/ 863600 h 876300"/>
                <a:gd name="connsiteX30" fmla="*/ 1028700 w 1803400"/>
                <a:gd name="connsiteY30" fmla="*/ 844550 h 876300"/>
                <a:gd name="connsiteX31" fmla="*/ 908050 w 1803400"/>
                <a:gd name="connsiteY31" fmla="*/ 819150 h 876300"/>
                <a:gd name="connsiteX32" fmla="*/ 793750 w 1803400"/>
                <a:gd name="connsiteY32" fmla="*/ 876300 h 876300"/>
                <a:gd name="connsiteX33" fmla="*/ 539750 w 1803400"/>
                <a:gd name="connsiteY33" fmla="*/ 869950 h 876300"/>
                <a:gd name="connsiteX34" fmla="*/ 342900 w 1803400"/>
                <a:gd name="connsiteY34" fmla="*/ 844550 h 876300"/>
                <a:gd name="connsiteX35" fmla="*/ 133350 w 1803400"/>
                <a:gd name="connsiteY35" fmla="*/ 755650 h 876300"/>
                <a:gd name="connsiteX36" fmla="*/ 0 w 1803400"/>
                <a:gd name="connsiteY36" fmla="*/ 660400 h 876300"/>
                <a:gd name="connsiteX37" fmla="*/ 12700 w 1803400"/>
                <a:gd name="connsiteY37" fmla="*/ 57150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03400" h="876300">
                  <a:moveTo>
                    <a:pt x="12700" y="571500"/>
                  </a:moveTo>
                  <a:lnTo>
                    <a:pt x="76200" y="463550"/>
                  </a:lnTo>
                  <a:lnTo>
                    <a:pt x="196850" y="368300"/>
                  </a:lnTo>
                  <a:lnTo>
                    <a:pt x="323850" y="158750"/>
                  </a:lnTo>
                  <a:lnTo>
                    <a:pt x="406400" y="0"/>
                  </a:lnTo>
                  <a:lnTo>
                    <a:pt x="476250" y="0"/>
                  </a:lnTo>
                  <a:lnTo>
                    <a:pt x="488950" y="171450"/>
                  </a:lnTo>
                  <a:lnTo>
                    <a:pt x="527050" y="260350"/>
                  </a:lnTo>
                  <a:lnTo>
                    <a:pt x="622300" y="266700"/>
                  </a:lnTo>
                  <a:lnTo>
                    <a:pt x="723900" y="298450"/>
                  </a:lnTo>
                  <a:lnTo>
                    <a:pt x="831850" y="381000"/>
                  </a:lnTo>
                  <a:lnTo>
                    <a:pt x="984250" y="361950"/>
                  </a:lnTo>
                  <a:lnTo>
                    <a:pt x="1016000" y="361950"/>
                  </a:lnTo>
                  <a:cubicBezTo>
                    <a:pt x="1035050" y="373592"/>
                    <a:pt x="1106488" y="337608"/>
                    <a:pt x="1125538" y="349250"/>
                  </a:cubicBezTo>
                  <a:lnTo>
                    <a:pt x="1154113" y="434975"/>
                  </a:lnTo>
                  <a:lnTo>
                    <a:pt x="1301750" y="450850"/>
                  </a:lnTo>
                  <a:lnTo>
                    <a:pt x="1358900" y="457200"/>
                  </a:lnTo>
                  <a:lnTo>
                    <a:pt x="1377950" y="577850"/>
                  </a:lnTo>
                  <a:lnTo>
                    <a:pt x="1441450" y="615950"/>
                  </a:lnTo>
                  <a:lnTo>
                    <a:pt x="1504950" y="584200"/>
                  </a:lnTo>
                  <a:lnTo>
                    <a:pt x="1568450" y="635000"/>
                  </a:lnTo>
                  <a:lnTo>
                    <a:pt x="1638300" y="641350"/>
                  </a:lnTo>
                  <a:lnTo>
                    <a:pt x="1733550" y="679450"/>
                  </a:lnTo>
                  <a:lnTo>
                    <a:pt x="1765300" y="711200"/>
                  </a:lnTo>
                  <a:lnTo>
                    <a:pt x="1803400" y="819150"/>
                  </a:lnTo>
                  <a:lnTo>
                    <a:pt x="1651000" y="812800"/>
                  </a:lnTo>
                  <a:lnTo>
                    <a:pt x="1422400" y="800100"/>
                  </a:lnTo>
                  <a:lnTo>
                    <a:pt x="1390650" y="812800"/>
                  </a:lnTo>
                  <a:lnTo>
                    <a:pt x="1276350" y="787400"/>
                  </a:lnTo>
                  <a:lnTo>
                    <a:pt x="1193800" y="863600"/>
                  </a:lnTo>
                  <a:lnTo>
                    <a:pt x="1028700" y="844550"/>
                  </a:lnTo>
                  <a:lnTo>
                    <a:pt x="908050" y="819150"/>
                  </a:lnTo>
                  <a:lnTo>
                    <a:pt x="793750" y="876300"/>
                  </a:lnTo>
                  <a:lnTo>
                    <a:pt x="539750" y="869950"/>
                  </a:lnTo>
                  <a:lnTo>
                    <a:pt x="342900" y="844550"/>
                  </a:lnTo>
                  <a:lnTo>
                    <a:pt x="133350" y="755650"/>
                  </a:lnTo>
                  <a:lnTo>
                    <a:pt x="0" y="660400"/>
                  </a:lnTo>
                  <a:lnTo>
                    <a:pt x="12700" y="57150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7" name="Figura a mano libera: forma 346">
              <a:extLst>
                <a:ext uri="{FF2B5EF4-FFF2-40B4-BE49-F238E27FC236}">
                  <a16:creationId xmlns="" xmlns:a16="http://schemas.microsoft.com/office/drawing/2014/main" id="{ACBB8594-46B7-47BC-B696-E3DEA39E5441}"/>
                </a:ext>
              </a:extLst>
            </p:cNvPr>
            <p:cNvSpPr/>
            <p:nvPr/>
          </p:nvSpPr>
          <p:spPr bwMode="auto">
            <a:xfrm>
              <a:off x="1208584" y="3695700"/>
              <a:ext cx="2114550" cy="749300"/>
            </a:xfrm>
            <a:custGeom>
              <a:avLst/>
              <a:gdLst>
                <a:gd name="connsiteX0" fmla="*/ 0 w 2184400"/>
                <a:gd name="connsiteY0" fmla="*/ 247650 h 749300"/>
                <a:gd name="connsiteX1" fmla="*/ 209550 w 2184400"/>
                <a:gd name="connsiteY1" fmla="*/ 127000 h 749300"/>
                <a:gd name="connsiteX2" fmla="*/ 323850 w 2184400"/>
                <a:gd name="connsiteY2" fmla="*/ 0 h 749300"/>
                <a:gd name="connsiteX3" fmla="*/ 425450 w 2184400"/>
                <a:gd name="connsiteY3" fmla="*/ 69850 h 749300"/>
                <a:gd name="connsiteX4" fmla="*/ 552450 w 2184400"/>
                <a:gd name="connsiteY4" fmla="*/ 114300 h 749300"/>
                <a:gd name="connsiteX5" fmla="*/ 711200 w 2184400"/>
                <a:gd name="connsiteY5" fmla="*/ 234950 h 749300"/>
                <a:gd name="connsiteX6" fmla="*/ 882650 w 2184400"/>
                <a:gd name="connsiteY6" fmla="*/ 266700 h 749300"/>
                <a:gd name="connsiteX7" fmla="*/ 1022350 w 2184400"/>
                <a:gd name="connsiteY7" fmla="*/ 285750 h 749300"/>
                <a:gd name="connsiteX8" fmla="*/ 1181100 w 2184400"/>
                <a:gd name="connsiteY8" fmla="*/ 241300 h 749300"/>
                <a:gd name="connsiteX9" fmla="*/ 1301750 w 2184400"/>
                <a:gd name="connsiteY9" fmla="*/ 196850 h 749300"/>
                <a:gd name="connsiteX10" fmla="*/ 1454150 w 2184400"/>
                <a:gd name="connsiteY10" fmla="*/ 215900 h 749300"/>
                <a:gd name="connsiteX11" fmla="*/ 1574800 w 2184400"/>
                <a:gd name="connsiteY11" fmla="*/ 209550 h 749300"/>
                <a:gd name="connsiteX12" fmla="*/ 1682750 w 2184400"/>
                <a:gd name="connsiteY12" fmla="*/ 184150 h 749300"/>
                <a:gd name="connsiteX13" fmla="*/ 1784350 w 2184400"/>
                <a:gd name="connsiteY13" fmla="*/ 177800 h 749300"/>
                <a:gd name="connsiteX14" fmla="*/ 1955800 w 2184400"/>
                <a:gd name="connsiteY14" fmla="*/ 184150 h 749300"/>
                <a:gd name="connsiteX15" fmla="*/ 2076450 w 2184400"/>
                <a:gd name="connsiteY15" fmla="*/ 184150 h 749300"/>
                <a:gd name="connsiteX16" fmla="*/ 2127250 w 2184400"/>
                <a:gd name="connsiteY16" fmla="*/ 254000 h 749300"/>
                <a:gd name="connsiteX17" fmla="*/ 2165350 w 2184400"/>
                <a:gd name="connsiteY17" fmla="*/ 279400 h 749300"/>
                <a:gd name="connsiteX18" fmla="*/ 2171700 w 2184400"/>
                <a:gd name="connsiteY18" fmla="*/ 361950 h 749300"/>
                <a:gd name="connsiteX19" fmla="*/ 2184400 w 2184400"/>
                <a:gd name="connsiteY19" fmla="*/ 400050 h 749300"/>
                <a:gd name="connsiteX20" fmla="*/ 2089150 w 2184400"/>
                <a:gd name="connsiteY20" fmla="*/ 501650 h 749300"/>
                <a:gd name="connsiteX21" fmla="*/ 1924050 w 2184400"/>
                <a:gd name="connsiteY21" fmla="*/ 603250 h 749300"/>
                <a:gd name="connsiteX22" fmla="*/ 1835150 w 2184400"/>
                <a:gd name="connsiteY22" fmla="*/ 603250 h 749300"/>
                <a:gd name="connsiteX23" fmla="*/ 1720850 w 2184400"/>
                <a:gd name="connsiteY23" fmla="*/ 533400 h 749300"/>
                <a:gd name="connsiteX24" fmla="*/ 1638300 w 2184400"/>
                <a:gd name="connsiteY24" fmla="*/ 527050 h 749300"/>
                <a:gd name="connsiteX25" fmla="*/ 1543050 w 2184400"/>
                <a:gd name="connsiteY25" fmla="*/ 565150 h 749300"/>
                <a:gd name="connsiteX26" fmla="*/ 1428750 w 2184400"/>
                <a:gd name="connsiteY26" fmla="*/ 628650 h 749300"/>
                <a:gd name="connsiteX27" fmla="*/ 1270000 w 2184400"/>
                <a:gd name="connsiteY27" fmla="*/ 635000 h 749300"/>
                <a:gd name="connsiteX28" fmla="*/ 1219200 w 2184400"/>
                <a:gd name="connsiteY28" fmla="*/ 666750 h 749300"/>
                <a:gd name="connsiteX29" fmla="*/ 1174750 w 2184400"/>
                <a:gd name="connsiteY29" fmla="*/ 679450 h 749300"/>
                <a:gd name="connsiteX30" fmla="*/ 1085850 w 2184400"/>
                <a:gd name="connsiteY30" fmla="*/ 679450 h 749300"/>
                <a:gd name="connsiteX31" fmla="*/ 977900 w 2184400"/>
                <a:gd name="connsiteY31" fmla="*/ 730250 h 749300"/>
                <a:gd name="connsiteX32" fmla="*/ 908050 w 2184400"/>
                <a:gd name="connsiteY32" fmla="*/ 717550 h 749300"/>
                <a:gd name="connsiteX33" fmla="*/ 793750 w 2184400"/>
                <a:gd name="connsiteY33" fmla="*/ 641350 h 749300"/>
                <a:gd name="connsiteX34" fmla="*/ 723900 w 2184400"/>
                <a:gd name="connsiteY34" fmla="*/ 635000 h 749300"/>
                <a:gd name="connsiteX35" fmla="*/ 685800 w 2184400"/>
                <a:gd name="connsiteY35" fmla="*/ 698500 h 749300"/>
                <a:gd name="connsiteX36" fmla="*/ 654050 w 2184400"/>
                <a:gd name="connsiteY36" fmla="*/ 698500 h 749300"/>
                <a:gd name="connsiteX37" fmla="*/ 603250 w 2184400"/>
                <a:gd name="connsiteY37" fmla="*/ 717550 h 749300"/>
                <a:gd name="connsiteX38" fmla="*/ 527050 w 2184400"/>
                <a:gd name="connsiteY38" fmla="*/ 749300 h 749300"/>
                <a:gd name="connsiteX39" fmla="*/ 374650 w 2184400"/>
                <a:gd name="connsiteY39" fmla="*/ 723900 h 749300"/>
                <a:gd name="connsiteX40" fmla="*/ 273050 w 2184400"/>
                <a:gd name="connsiteY40" fmla="*/ 609600 h 749300"/>
                <a:gd name="connsiteX41" fmla="*/ 241300 w 2184400"/>
                <a:gd name="connsiteY41" fmla="*/ 482600 h 749300"/>
                <a:gd name="connsiteX42" fmla="*/ 241300 w 2184400"/>
                <a:gd name="connsiteY42" fmla="*/ 431800 h 749300"/>
                <a:gd name="connsiteX43" fmla="*/ 196850 w 2184400"/>
                <a:gd name="connsiteY43" fmla="*/ 336550 h 749300"/>
                <a:gd name="connsiteX44" fmla="*/ 95250 w 2184400"/>
                <a:gd name="connsiteY44" fmla="*/ 304800 h 749300"/>
                <a:gd name="connsiteX45" fmla="*/ 69850 w 2184400"/>
                <a:gd name="connsiteY45" fmla="*/ 222250 h 749300"/>
                <a:gd name="connsiteX46" fmla="*/ 0 w 2184400"/>
                <a:gd name="connsiteY46" fmla="*/ 247650 h 749300"/>
                <a:gd name="connsiteX0" fmla="*/ 0 w 2114550"/>
                <a:gd name="connsiteY0" fmla="*/ 222250 h 749300"/>
                <a:gd name="connsiteX1" fmla="*/ 139700 w 2114550"/>
                <a:gd name="connsiteY1" fmla="*/ 127000 h 749300"/>
                <a:gd name="connsiteX2" fmla="*/ 254000 w 2114550"/>
                <a:gd name="connsiteY2" fmla="*/ 0 h 749300"/>
                <a:gd name="connsiteX3" fmla="*/ 355600 w 2114550"/>
                <a:gd name="connsiteY3" fmla="*/ 69850 h 749300"/>
                <a:gd name="connsiteX4" fmla="*/ 482600 w 2114550"/>
                <a:gd name="connsiteY4" fmla="*/ 114300 h 749300"/>
                <a:gd name="connsiteX5" fmla="*/ 641350 w 2114550"/>
                <a:gd name="connsiteY5" fmla="*/ 234950 h 749300"/>
                <a:gd name="connsiteX6" fmla="*/ 812800 w 2114550"/>
                <a:gd name="connsiteY6" fmla="*/ 266700 h 749300"/>
                <a:gd name="connsiteX7" fmla="*/ 952500 w 2114550"/>
                <a:gd name="connsiteY7" fmla="*/ 285750 h 749300"/>
                <a:gd name="connsiteX8" fmla="*/ 1111250 w 2114550"/>
                <a:gd name="connsiteY8" fmla="*/ 241300 h 749300"/>
                <a:gd name="connsiteX9" fmla="*/ 1231900 w 2114550"/>
                <a:gd name="connsiteY9" fmla="*/ 196850 h 749300"/>
                <a:gd name="connsiteX10" fmla="*/ 1384300 w 2114550"/>
                <a:gd name="connsiteY10" fmla="*/ 215900 h 749300"/>
                <a:gd name="connsiteX11" fmla="*/ 1504950 w 2114550"/>
                <a:gd name="connsiteY11" fmla="*/ 209550 h 749300"/>
                <a:gd name="connsiteX12" fmla="*/ 1612900 w 2114550"/>
                <a:gd name="connsiteY12" fmla="*/ 184150 h 749300"/>
                <a:gd name="connsiteX13" fmla="*/ 1714500 w 2114550"/>
                <a:gd name="connsiteY13" fmla="*/ 177800 h 749300"/>
                <a:gd name="connsiteX14" fmla="*/ 1885950 w 2114550"/>
                <a:gd name="connsiteY14" fmla="*/ 184150 h 749300"/>
                <a:gd name="connsiteX15" fmla="*/ 2006600 w 2114550"/>
                <a:gd name="connsiteY15" fmla="*/ 184150 h 749300"/>
                <a:gd name="connsiteX16" fmla="*/ 2057400 w 2114550"/>
                <a:gd name="connsiteY16" fmla="*/ 254000 h 749300"/>
                <a:gd name="connsiteX17" fmla="*/ 2095500 w 2114550"/>
                <a:gd name="connsiteY17" fmla="*/ 279400 h 749300"/>
                <a:gd name="connsiteX18" fmla="*/ 2101850 w 2114550"/>
                <a:gd name="connsiteY18" fmla="*/ 361950 h 749300"/>
                <a:gd name="connsiteX19" fmla="*/ 2114550 w 2114550"/>
                <a:gd name="connsiteY19" fmla="*/ 400050 h 749300"/>
                <a:gd name="connsiteX20" fmla="*/ 2019300 w 2114550"/>
                <a:gd name="connsiteY20" fmla="*/ 501650 h 749300"/>
                <a:gd name="connsiteX21" fmla="*/ 1854200 w 2114550"/>
                <a:gd name="connsiteY21" fmla="*/ 603250 h 749300"/>
                <a:gd name="connsiteX22" fmla="*/ 1765300 w 2114550"/>
                <a:gd name="connsiteY22" fmla="*/ 603250 h 749300"/>
                <a:gd name="connsiteX23" fmla="*/ 1651000 w 2114550"/>
                <a:gd name="connsiteY23" fmla="*/ 533400 h 749300"/>
                <a:gd name="connsiteX24" fmla="*/ 1568450 w 2114550"/>
                <a:gd name="connsiteY24" fmla="*/ 527050 h 749300"/>
                <a:gd name="connsiteX25" fmla="*/ 1473200 w 2114550"/>
                <a:gd name="connsiteY25" fmla="*/ 565150 h 749300"/>
                <a:gd name="connsiteX26" fmla="*/ 1358900 w 2114550"/>
                <a:gd name="connsiteY26" fmla="*/ 628650 h 749300"/>
                <a:gd name="connsiteX27" fmla="*/ 1200150 w 2114550"/>
                <a:gd name="connsiteY27" fmla="*/ 635000 h 749300"/>
                <a:gd name="connsiteX28" fmla="*/ 1149350 w 2114550"/>
                <a:gd name="connsiteY28" fmla="*/ 666750 h 749300"/>
                <a:gd name="connsiteX29" fmla="*/ 1104900 w 2114550"/>
                <a:gd name="connsiteY29" fmla="*/ 679450 h 749300"/>
                <a:gd name="connsiteX30" fmla="*/ 1016000 w 2114550"/>
                <a:gd name="connsiteY30" fmla="*/ 679450 h 749300"/>
                <a:gd name="connsiteX31" fmla="*/ 908050 w 2114550"/>
                <a:gd name="connsiteY31" fmla="*/ 730250 h 749300"/>
                <a:gd name="connsiteX32" fmla="*/ 838200 w 2114550"/>
                <a:gd name="connsiteY32" fmla="*/ 717550 h 749300"/>
                <a:gd name="connsiteX33" fmla="*/ 723900 w 2114550"/>
                <a:gd name="connsiteY33" fmla="*/ 641350 h 749300"/>
                <a:gd name="connsiteX34" fmla="*/ 654050 w 2114550"/>
                <a:gd name="connsiteY34" fmla="*/ 635000 h 749300"/>
                <a:gd name="connsiteX35" fmla="*/ 615950 w 2114550"/>
                <a:gd name="connsiteY35" fmla="*/ 698500 h 749300"/>
                <a:gd name="connsiteX36" fmla="*/ 584200 w 2114550"/>
                <a:gd name="connsiteY36" fmla="*/ 698500 h 749300"/>
                <a:gd name="connsiteX37" fmla="*/ 533400 w 2114550"/>
                <a:gd name="connsiteY37" fmla="*/ 717550 h 749300"/>
                <a:gd name="connsiteX38" fmla="*/ 457200 w 2114550"/>
                <a:gd name="connsiteY38" fmla="*/ 749300 h 749300"/>
                <a:gd name="connsiteX39" fmla="*/ 304800 w 2114550"/>
                <a:gd name="connsiteY39" fmla="*/ 723900 h 749300"/>
                <a:gd name="connsiteX40" fmla="*/ 203200 w 2114550"/>
                <a:gd name="connsiteY40" fmla="*/ 609600 h 749300"/>
                <a:gd name="connsiteX41" fmla="*/ 171450 w 2114550"/>
                <a:gd name="connsiteY41" fmla="*/ 482600 h 749300"/>
                <a:gd name="connsiteX42" fmla="*/ 171450 w 2114550"/>
                <a:gd name="connsiteY42" fmla="*/ 431800 h 749300"/>
                <a:gd name="connsiteX43" fmla="*/ 127000 w 2114550"/>
                <a:gd name="connsiteY43" fmla="*/ 336550 h 749300"/>
                <a:gd name="connsiteX44" fmla="*/ 25400 w 2114550"/>
                <a:gd name="connsiteY44" fmla="*/ 304800 h 749300"/>
                <a:gd name="connsiteX45" fmla="*/ 0 w 2114550"/>
                <a:gd name="connsiteY45" fmla="*/ 222250 h 749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114550" h="749300">
                  <a:moveTo>
                    <a:pt x="0" y="222250"/>
                  </a:moveTo>
                  <a:lnTo>
                    <a:pt x="139700" y="127000"/>
                  </a:lnTo>
                  <a:lnTo>
                    <a:pt x="254000" y="0"/>
                  </a:lnTo>
                  <a:lnTo>
                    <a:pt x="355600" y="69850"/>
                  </a:lnTo>
                  <a:lnTo>
                    <a:pt x="482600" y="114300"/>
                  </a:lnTo>
                  <a:lnTo>
                    <a:pt x="641350" y="234950"/>
                  </a:lnTo>
                  <a:lnTo>
                    <a:pt x="812800" y="266700"/>
                  </a:lnTo>
                  <a:lnTo>
                    <a:pt x="952500" y="285750"/>
                  </a:lnTo>
                  <a:lnTo>
                    <a:pt x="1111250" y="241300"/>
                  </a:lnTo>
                  <a:lnTo>
                    <a:pt x="1231900" y="196850"/>
                  </a:lnTo>
                  <a:lnTo>
                    <a:pt x="1384300" y="215900"/>
                  </a:lnTo>
                  <a:lnTo>
                    <a:pt x="1504950" y="209550"/>
                  </a:lnTo>
                  <a:lnTo>
                    <a:pt x="1612900" y="184150"/>
                  </a:lnTo>
                  <a:lnTo>
                    <a:pt x="1714500" y="177800"/>
                  </a:lnTo>
                  <a:lnTo>
                    <a:pt x="1885950" y="184150"/>
                  </a:lnTo>
                  <a:lnTo>
                    <a:pt x="2006600" y="184150"/>
                  </a:lnTo>
                  <a:lnTo>
                    <a:pt x="2057400" y="254000"/>
                  </a:lnTo>
                  <a:lnTo>
                    <a:pt x="2095500" y="279400"/>
                  </a:lnTo>
                  <a:lnTo>
                    <a:pt x="2101850" y="361950"/>
                  </a:lnTo>
                  <a:lnTo>
                    <a:pt x="2114550" y="400050"/>
                  </a:lnTo>
                  <a:lnTo>
                    <a:pt x="2019300" y="501650"/>
                  </a:lnTo>
                  <a:lnTo>
                    <a:pt x="1854200" y="603250"/>
                  </a:lnTo>
                  <a:lnTo>
                    <a:pt x="1765300" y="603250"/>
                  </a:lnTo>
                  <a:lnTo>
                    <a:pt x="1651000" y="533400"/>
                  </a:lnTo>
                  <a:lnTo>
                    <a:pt x="1568450" y="527050"/>
                  </a:lnTo>
                  <a:lnTo>
                    <a:pt x="1473200" y="565150"/>
                  </a:lnTo>
                  <a:lnTo>
                    <a:pt x="1358900" y="628650"/>
                  </a:lnTo>
                  <a:lnTo>
                    <a:pt x="1200150" y="635000"/>
                  </a:lnTo>
                  <a:lnTo>
                    <a:pt x="1149350" y="666750"/>
                  </a:lnTo>
                  <a:lnTo>
                    <a:pt x="1104900" y="679450"/>
                  </a:lnTo>
                  <a:lnTo>
                    <a:pt x="1016000" y="679450"/>
                  </a:lnTo>
                  <a:lnTo>
                    <a:pt x="908050" y="730250"/>
                  </a:lnTo>
                  <a:lnTo>
                    <a:pt x="838200" y="717550"/>
                  </a:lnTo>
                  <a:lnTo>
                    <a:pt x="723900" y="641350"/>
                  </a:lnTo>
                  <a:lnTo>
                    <a:pt x="654050" y="635000"/>
                  </a:lnTo>
                  <a:cubicBezTo>
                    <a:pt x="620846" y="694767"/>
                    <a:pt x="637710" y="676740"/>
                    <a:pt x="615950" y="698500"/>
                  </a:cubicBezTo>
                  <a:lnTo>
                    <a:pt x="584200" y="698500"/>
                  </a:lnTo>
                  <a:lnTo>
                    <a:pt x="533400" y="717550"/>
                  </a:lnTo>
                  <a:lnTo>
                    <a:pt x="457200" y="749300"/>
                  </a:lnTo>
                  <a:lnTo>
                    <a:pt x="304800" y="723900"/>
                  </a:lnTo>
                  <a:lnTo>
                    <a:pt x="203200" y="609600"/>
                  </a:lnTo>
                  <a:lnTo>
                    <a:pt x="171450" y="482600"/>
                  </a:lnTo>
                  <a:lnTo>
                    <a:pt x="171450" y="431800"/>
                  </a:lnTo>
                  <a:lnTo>
                    <a:pt x="127000" y="336550"/>
                  </a:lnTo>
                  <a:lnTo>
                    <a:pt x="25400" y="304800"/>
                  </a:lnTo>
                  <a:lnTo>
                    <a:pt x="0" y="2222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8" name="Figura a mano libera: forma 347">
              <a:extLst>
                <a:ext uri="{FF2B5EF4-FFF2-40B4-BE49-F238E27FC236}">
                  <a16:creationId xmlns="" xmlns:a16="http://schemas.microsoft.com/office/drawing/2014/main" id="{335FCA16-5E4A-4DCB-9A88-05637F2D2B84}"/>
                </a:ext>
              </a:extLst>
            </p:cNvPr>
            <p:cNvSpPr/>
            <p:nvPr/>
          </p:nvSpPr>
          <p:spPr bwMode="auto">
            <a:xfrm>
              <a:off x="1595934" y="4038600"/>
              <a:ext cx="1784350" cy="876300"/>
            </a:xfrm>
            <a:custGeom>
              <a:avLst/>
              <a:gdLst>
                <a:gd name="connsiteX0" fmla="*/ 0 w 1784350"/>
                <a:gd name="connsiteY0" fmla="*/ 412750 h 876300"/>
                <a:gd name="connsiteX1" fmla="*/ 95250 w 1784350"/>
                <a:gd name="connsiteY1" fmla="*/ 622300 h 876300"/>
                <a:gd name="connsiteX2" fmla="*/ 266700 w 1784350"/>
                <a:gd name="connsiteY2" fmla="*/ 755650 h 876300"/>
                <a:gd name="connsiteX3" fmla="*/ 349250 w 1784350"/>
                <a:gd name="connsiteY3" fmla="*/ 806450 h 876300"/>
                <a:gd name="connsiteX4" fmla="*/ 463550 w 1784350"/>
                <a:gd name="connsiteY4" fmla="*/ 876300 h 876300"/>
                <a:gd name="connsiteX5" fmla="*/ 546100 w 1784350"/>
                <a:gd name="connsiteY5" fmla="*/ 787400 h 876300"/>
                <a:gd name="connsiteX6" fmla="*/ 723900 w 1784350"/>
                <a:gd name="connsiteY6" fmla="*/ 787400 h 876300"/>
                <a:gd name="connsiteX7" fmla="*/ 800100 w 1784350"/>
                <a:gd name="connsiteY7" fmla="*/ 806450 h 876300"/>
                <a:gd name="connsiteX8" fmla="*/ 882650 w 1784350"/>
                <a:gd name="connsiteY8" fmla="*/ 863600 h 876300"/>
                <a:gd name="connsiteX9" fmla="*/ 1028700 w 1784350"/>
                <a:gd name="connsiteY9" fmla="*/ 869950 h 876300"/>
                <a:gd name="connsiteX10" fmla="*/ 1162050 w 1784350"/>
                <a:gd name="connsiteY10" fmla="*/ 863600 h 876300"/>
                <a:gd name="connsiteX11" fmla="*/ 1257300 w 1784350"/>
                <a:gd name="connsiteY11" fmla="*/ 812800 h 876300"/>
                <a:gd name="connsiteX12" fmla="*/ 1301750 w 1784350"/>
                <a:gd name="connsiteY12" fmla="*/ 692150 h 876300"/>
                <a:gd name="connsiteX13" fmla="*/ 1314450 w 1784350"/>
                <a:gd name="connsiteY13" fmla="*/ 546100 h 876300"/>
                <a:gd name="connsiteX14" fmla="*/ 1422400 w 1784350"/>
                <a:gd name="connsiteY14" fmla="*/ 546100 h 876300"/>
                <a:gd name="connsiteX15" fmla="*/ 1504950 w 1784350"/>
                <a:gd name="connsiteY15" fmla="*/ 520700 h 876300"/>
                <a:gd name="connsiteX16" fmla="*/ 1593850 w 1784350"/>
                <a:gd name="connsiteY16" fmla="*/ 463550 h 876300"/>
                <a:gd name="connsiteX17" fmla="*/ 1695450 w 1784350"/>
                <a:gd name="connsiteY17" fmla="*/ 381000 h 876300"/>
                <a:gd name="connsiteX18" fmla="*/ 1758950 w 1784350"/>
                <a:gd name="connsiteY18" fmla="*/ 342900 h 876300"/>
                <a:gd name="connsiteX19" fmla="*/ 1638300 w 1784350"/>
                <a:gd name="connsiteY19" fmla="*/ 228600 h 876300"/>
                <a:gd name="connsiteX20" fmla="*/ 1771650 w 1784350"/>
                <a:gd name="connsiteY20" fmla="*/ 146050 h 876300"/>
                <a:gd name="connsiteX21" fmla="*/ 1784350 w 1784350"/>
                <a:gd name="connsiteY21" fmla="*/ 63500 h 876300"/>
                <a:gd name="connsiteX22" fmla="*/ 1714500 w 1784350"/>
                <a:gd name="connsiteY22" fmla="*/ 0 h 876300"/>
                <a:gd name="connsiteX23" fmla="*/ 1593850 w 1784350"/>
                <a:gd name="connsiteY23" fmla="*/ 63500 h 876300"/>
                <a:gd name="connsiteX24" fmla="*/ 1530350 w 1784350"/>
                <a:gd name="connsiteY24" fmla="*/ 184150 h 876300"/>
                <a:gd name="connsiteX25" fmla="*/ 1466850 w 1784350"/>
                <a:gd name="connsiteY25" fmla="*/ 222250 h 876300"/>
                <a:gd name="connsiteX26" fmla="*/ 1390650 w 1784350"/>
                <a:gd name="connsiteY26" fmla="*/ 209550 h 876300"/>
                <a:gd name="connsiteX27" fmla="*/ 1301750 w 1784350"/>
                <a:gd name="connsiteY27" fmla="*/ 146050 h 876300"/>
                <a:gd name="connsiteX28" fmla="*/ 1206500 w 1784350"/>
                <a:gd name="connsiteY28" fmla="*/ 146050 h 876300"/>
                <a:gd name="connsiteX29" fmla="*/ 1098550 w 1784350"/>
                <a:gd name="connsiteY29" fmla="*/ 146050 h 876300"/>
                <a:gd name="connsiteX30" fmla="*/ 958850 w 1784350"/>
                <a:gd name="connsiteY30" fmla="*/ 234950 h 876300"/>
                <a:gd name="connsiteX31" fmla="*/ 895350 w 1784350"/>
                <a:gd name="connsiteY31" fmla="*/ 254000 h 876300"/>
                <a:gd name="connsiteX32" fmla="*/ 704850 w 1784350"/>
                <a:gd name="connsiteY32" fmla="*/ 304800 h 876300"/>
                <a:gd name="connsiteX33" fmla="*/ 552450 w 1784350"/>
                <a:gd name="connsiteY33" fmla="*/ 311150 h 876300"/>
                <a:gd name="connsiteX34" fmla="*/ 393700 w 1784350"/>
                <a:gd name="connsiteY34" fmla="*/ 311150 h 876300"/>
                <a:gd name="connsiteX35" fmla="*/ 349250 w 1784350"/>
                <a:gd name="connsiteY35" fmla="*/ 285750 h 876300"/>
                <a:gd name="connsiteX36" fmla="*/ 241300 w 1784350"/>
                <a:gd name="connsiteY36" fmla="*/ 241300 h 876300"/>
                <a:gd name="connsiteX37" fmla="*/ 184150 w 1784350"/>
                <a:gd name="connsiteY37" fmla="*/ 247650 h 876300"/>
                <a:gd name="connsiteX38" fmla="*/ 120650 w 1784350"/>
                <a:gd name="connsiteY38" fmla="*/ 273050 h 876300"/>
                <a:gd name="connsiteX39" fmla="*/ 107950 w 1784350"/>
                <a:gd name="connsiteY39" fmla="*/ 311150 h 876300"/>
                <a:gd name="connsiteX40" fmla="*/ 0 w 1784350"/>
                <a:gd name="connsiteY40" fmla="*/ 412750 h 876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84350" h="876300">
                  <a:moveTo>
                    <a:pt x="0" y="412750"/>
                  </a:moveTo>
                  <a:lnTo>
                    <a:pt x="95250" y="622300"/>
                  </a:lnTo>
                  <a:lnTo>
                    <a:pt x="266700" y="755650"/>
                  </a:lnTo>
                  <a:lnTo>
                    <a:pt x="349250" y="806450"/>
                  </a:lnTo>
                  <a:lnTo>
                    <a:pt x="463550" y="876300"/>
                  </a:lnTo>
                  <a:lnTo>
                    <a:pt x="546100" y="787400"/>
                  </a:lnTo>
                  <a:lnTo>
                    <a:pt x="723900" y="787400"/>
                  </a:lnTo>
                  <a:lnTo>
                    <a:pt x="800100" y="806450"/>
                  </a:lnTo>
                  <a:lnTo>
                    <a:pt x="882650" y="863600"/>
                  </a:lnTo>
                  <a:lnTo>
                    <a:pt x="1028700" y="869950"/>
                  </a:lnTo>
                  <a:lnTo>
                    <a:pt x="1162050" y="863600"/>
                  </a:lnTo>
                  <a:lnTo>
                    <a:pt x="1257300" y="812800"/>
                  </a:lnTo>
                  <a:lnTo>
                    <a:pt x="1301750" y="692150"/>
                  </a:lnTo>
                  <a:lnTo>
                    <a:pt x="1314450" y="546100"/>
                  </a:lnTo>
                  <a:lnTo>
                    <a:pt x="1422400" y="546100"/>
                  </a:lnTo>
                  <a:lnTo>
                    <a:pt x="1504950" y="520700"/>
                  </a:lnTo>
                  <a:lnTo>
                    <a:pt x="1593850" y="463550"/>
                  </a:lnTo>
                  <a:lnTo>
                    <a:pt x="1695450" y="381000"/>
                  </a:lnTo>
                  <a:lnTo>
                    <a:pt x="1758950" y="342900"/>
                  </a:lnTo>
                  <a:lnTo>
                    <a:pt x="1638300" y="228600"/>
                  </a:lnTo>
                  <a:lnTo>
                    <a:pt x="1771650" y="146050"/>
                  </a:lnTo>
                  <a:lnTo>
                    <a:pt x="1784350" y="63500"/>
                  </a:lnTo>
                  <a:lnTo>
                    <a:pt x="1714500" y="0"/>
                  </a:lnTo>
                  <a:lnTo>
                    <a:pt x="1593850" y="63500"/>
                  </a:lnTo>
                  <a:lnTo>
                    <a:pt x="1530350" y="184150"/>
                  </a:lnTo>
                  <a:lnTo>
                    <a:pt x="1466850" y="222250"/>
                  </a:lnTo>
                  <a:lnTo>
                    <a:pt x="1390650" y="209550"/>
                  </a:lnTo>
                  <a:lnTo>
                    <a:pt x="1301750" y="146050"/>
                  </a:lnTo>
                  <a:lnTo>
                    <a:pt x="1206500" y="146050"/>
                  </a:lnTo>
                  <a:lnTo>
                    <a:pt x="1098550" y="146050"/>
                  </a:lnTo>
                  <a:lnTo>
                    <a:pt x="958850" y="234950"/>
                  </a:lnTo>
                  <a:lnTo>
                    <a:pt x="895350" y="254000"/>
                  </a:lnTo>
                  <a:lnTo>
                    <a:pt x="704850" y="304800"/>
                  </a:lnTo>
                  <a:lnTo>
                    <a:pt x="552450" y="311150"/>
                  </a:lnTo>
                  <a:lnTo>
                    <a:pt x="393700" y="311150"/>
                  </a:lnTo>
                  <a:lnTo>
                    <a:pt x="349250" y="285750"/>
                  </a:lnTo>
                  <a:lnTo>
                    <a:pt x="241300" y="241300"/>
                  </a:lnTo>
                  <a:lnTo>
                    <a:pt x="184150" y="247650"/>
                  </a:lnTo>
                  <a:lnTo>
                    <a:pt x="120650" y="273050"/>
                  </a:lnTo>
                  <a:lnTo>
                    <a:pt x="107950" y="311150"/>
                  </a:lnTo>
                  <a:lnTo>
                    <a:pt x="0" y="4127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49" name="Figura a mano libera: forma 348">
              <a:extLst>
                <a:ext uri="{FF2B5EF4-FFF2-40B4-BE49-F238E27FC236}">
                  <a16:creationId xmlns="" xmlns:a16="http://schemas.microsoft.com/office/drawing/2014/main" id="{4DA5DE0D-811C-4E66-BE9B-79ADE2988EE7}"/>
                </a:ext>
              </a:extLst>
            </p:cNvPr>
            <p:cNvSpPr/>
            <p:nvPr/>
          </p:nvSpPr>
          <p:spPr bwMode="auto">
            <a:xfrm>
              <a:off x="3018334" y="3409950"/>
              <a:ext cx="736600" cy="717550"/>
            </a:xfrm>
            <a:custGeom>
              <a:avLst/>
              <a:gdLst>
                <a:gd name="connsiteX0" fmla="*/ 19050 w 736600"/>
                <a:gd name="connsiteY0" fmla="*/ 6350 h 717550"/>
                <a:gd name="connsiteX1" fmla="*/ 76200 w 736600"/>
                <a:gd name="connsiteY1" fmla="*/ 215900 h 717550"/>
                <a:gd name="connsiteX2" fmla="*/ 0 w 736600"/>
                <a:gd name="connsiteY2" fmla="*/ 342900 h 717550"/>
                <a:gd name="connsiteX3" fmla="*/ 0 w 736600"/>
                <a:gd name="connsiteY3" fmla="*/ 400050 h 717550"/>
                <a:gd name="connsiteX4" fmla="*/ 88900 w 736600"/>
                <a:gd name="connsiteY4" fmla="*/ 425450 h 717550"/>
                <a:gd name="connsiteX5" fmla="*/ 146050 w 736600"/>
                <a:gd name="connsiteY5" fmla="*/ 317500 h 717550"/>
                <a:gd name="connsiteX6" fmla="*/ 165100 w 736600"/>
                <a:gd name="connsiteY6" fmla="*/ 463550 h 717550"/>
                <a:gd name="connsiteX7" fmla="*/ 184150 w 736600"/>
                <a:gd name="connsiteY7" fmla="*/ 552450 h 717550"/>
                <a:gd name="connsiteX8" fmla="*/ 209550 w 736600"/>
                <a:gd name="connsiteY8" fmla="*/ 609600 h 717550"/>
                <a:gd name="connsiteX9" fmla="*/ 292100 w 736600"/>
                <a:gd name="connsiteY9" fmla="*/ 660400 h 717550"/>
                <a:gd name="connsiteX10" fmla="*/ 387350 w 736600"/>
                <a:gd name="connsiteY10" fmla="*/ 679450 h 717550"/>
                <a:gd name="connsiteX11" fmla="*/ 469900 w 736600"/>
                <a:gd name="connsiteY11" fmla="*/ 711200 h 717550"/>
                <a:gd name="connsiteX12" fmla="*/ 539750 w 736600"/>
                <a:gd name="connsiteY12" fmla="*/ 717550 h 717550"/>
                <a:gd name="connsiteX13" fmla="*/ 615950 w 736600"/>
                <a:gd name="connsiteY13" fmla="*/ 679450 h 717550"/>
                <a:gd name="connsiteX14" fmla="*/ 666750 w 736600"/>
                <a:gd name="connsiteY14" fmla="*/ 609600 h 717550"/>
                <a:gd name="connsiteX15" fmla="*/ 622300 w 736600"/>
                <a:gd name="connsiteY15" fmla="*/ 539750 h 717550"/>
                <a:gd name="connsiteX16" fmla="*/ 736600 w 736600"/>
                <a:gd name="connsiteY16" fmla="*/ 508000 h 717550"/>
                <a:gd name="connsiteX17" fmla="*/ 736600 w 736600"/>
                <a:gd name="connsiteY17" fmla="*/ 438150 h 717550"/>
                <a:gd name="connsiteX18" fmla="*/ 635000 w 736600"/>
                <a:gd name="connsiteY18" fmla="*/ 323850 h 717550"/>
                <a:gd name="connsiteX19" fmla="*/ 571500 w 736600"/>
                <a:gd name="connsiteY19" fmla="*/ 196850 h 717550"/>
                <a:gd name="connsiteX20" fmla="*/ 482600 w 736600"/>
                <a:gd name="connsiteY20" fmla="*/ 215900 h 717550"/>
                <a:gd name="connsiteX21" fmla="*/ 342900 w 736600"/>
                <a:gd name="connsiteY21" fmla="*/ 222250 h 717550"/>
                <a:gd name="connsiteX22" fmla="*/ 304800 w 736600"/>
                <a:gd name="connsiteY22" fmla="*/ 139700 h 717550"/>
                <a:gd name="connsiteX23" fmla="*/ 260350 w 736600"/>
                <a:gd name="connsiteY23" fmla="*/ 82550 h 717550"/>
                <a:gd name="connsiteX24" fmla="*/ 190500 w 736600"/>
                <a:gd name="connsiteY24" fmla="*/ 12700 h 717550"/>
                <a:gd name="connsiteX25" fmla="*/ 127000 w 736600"/>
                <a:gd name="connsiteY25" fmla="*/ 0 h 717550"/>
                <a:gd name="connsiteX26" fmla="*/ 19050 w 736600"/>
                <a:gd name="connsiteY26" fmla="*/ 6350 h 717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736600" h="717550">
                  <a:moveTo>
                    <a:pt x="19050" y="6350"/>
                  </a:moveTo>
                  <a:lnTo>
                    <a:pt x="76200" y="215900"/>
                  </a:lnTo>
                  <a:lnTo>
                    <a:pt x="0" y="342900"/>
                  </a:lnTo>
                  <a:lnTo>
                    <a:pt x="0" y="400050"/>
                  </a:lnTo>
                  <a:lnTo>
                    <a:pt x="88900" y="425450"/>
                  </a:lnTo>
                  <a:lnTo>
                    <a:pt x="146050" y="317500"/>
                  </a:lnTo>
                  <a:lnTo>
                    <a:pt x="165100" y="463550"/>
                  </a:lnTo>
                  <a:lnTo>
                    <a:pt x="184150" y="552450"/>
                  </a:lnTo>
                  <a:lnTo>
                    <a:pt x="209550" y="609600"/>
                  </a:lnTo>
                  <a:lnTo>
                    <a:pt x="292100" y="660400"/>
                  </a:lnTo>
                  <a:lnTo>
                    <a:pt x="387350" y="679450"/>
                  </a:lnTo>
                  <a:lnTo>
                    <a:pt x="469900" y="711200"/>
                  </a:lnTo>
                  <a:lnTo>
                    <a:pt x="539750" y="717550"/>
                  </a:lnTo>
                  <a:lnTo>
                    <a:pt x="615950" y="679450"/>
                  </a:lnTo>
                  <a:lnTo>
                    <a:pt x="666750" y="609600"/>
                  </a:lnTo>
                  <a:lnTo>
                    <a:pt x="622300" y="539750"/>
                  </a:lnTo>
                  <a:lnTo>
                    <a:pt x="736600" y="508000"/>
                  </a:lnTo>
                  <a:lnTo>
                    <a:pt x="736600" y="438150"/>
                  </a:lnTo>
                  <a:lnTo>
                    <a:pt x="635000" y="323850"/>
                  </a:lnTo>
                  <a:lnTo>
                    <a:pt x="571500" y="196850"/>
                  </a:lnTo>
                  <a:lnTo>
                    <a:pt x="482600" y="215900"/>
                  </a:lnTo>
                  <a:lnTo>
                    <a:pt x="342900" y="222250"/>
                  </a:lnTo>
                  <a:lnTo>
                    <a:pt x="304800" y="139700"/>
                  </a:lnTo>
                  <a:lnTo>
                    <a:pt x="260350" y="82550"/>
                  </a:lnTo>
                  <a:lnTo>
                    <a:pt x="190500" y="12700"/>
                  </a:lnTo>
                  <a:lnTo>
                    <a:pt x="127000" y="0"/>
                  </a:lnTo>
                  <a:lnTo>
                    <a:pt x="19050" y="635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50" name="Figura a mano libera: forma 349">
              <a:extLst>
                <a:ext uri="{FF2B5EF4-FFF2-40B4-BE49-F238E27FC236}">
                  <a16:creationId xmlns="" xmlns:a16="http://schemas.microsoft.com/office/drawing/2014/main" id="{BFF6B61B-1763-4ED9-BB09-B3A4F7DD0F60}"/>
                </a:ext>
              </a:extLst>
            </p:cNvPr>
            <p:cNvSpPr/>
            <p:nvPr/>
          </p:nvSpPr>
          <p:spPr bwMode="auto">
            <a:xfrm>
              <a:off x="3221534" y="3302000"/>
              <a:ext cx="679450" cy="609600"/>
            </a:xfrm>
            <a:custGeom>
              <a:avLst/>
              <a:gdLst>
                <a:gd name="connsiteX0" fmla="*/ 120650 w 679450"/>
                <a:gd name="connsiteY0" fmla="*/ 76200 h 609600"/>
                <a:gd name="connsiteX1" fmla="*/ 25400 w 679450"/>
                <a:gd name="connsiteY1" fmla="*/ 152400 h 609600"/>
                <a:gd name="connsiteX2" fmla="*/ 0 w 679450"/>
                <a:gd name="connsiteY2" fmla="*/ 209550 h 609600"/>
                <a:gd name="connsiteX3" fmla="*/ 25400 w 679450"/>
                <a:gd name="connsiteY3" fmla="*/ 285750 h 609600"/>
                <a:gd name="connsiteX4" fmla="*/ 101600 w 679450"/>
                <a:gd name="connsiteY4" fmla="*/ 381000 h 609600"/>
                <a:gd name="connsiteX5" fmla="*/ 234950 w 679450"/>
                <a:gd name="connsiteY5" fmla="*/ 393700 h 609600"/>
                <a:gd name="connsiteX6" fmla="*/ 374650 w 679450"/>
                <a:gd name="connsiteY6" fmla="*/ 425450 h 609600"/>
                <a:gd name="connsiteX7" fmla="*/ 431800 w 679450"/>
                <a:gd name="connsiteY7" fmla="*/ 508000 h 609600"/>
                <a:gd name="connsiteX8" fmla="*/ 495300 w 679450"/>
                <a:gd name="connsiteY8" fmla="*/ 609600 h 609600"/>
                <a:gd name="connsiteX9" fmla="*/ 635000 w 679450"/>
                <a:gd name="connsiteY9" fmla="*/ 577850 h 609600"/>
                <a:gd name="connsiteX10" fmla="*/ 679450 w 679450"/>
                <a:gd name="connsiteY10" fmla="*/ 514350 h 609600"/>
                <a:gd name="connsiteX11" fmla="*/ 679450 w 679450"/>
                <a:gd name="connsiteY11" fmla="*/ 368300 h 609600"/>
                <a:gd name="connsiteX12" fmla="*/ 641350 w 679450"/>
                <a:gd name="connsiteY12" fmla="*/ 222250 h 609600"/>
                <a:gd name="connsiteX13" fmla="*/ 615950 w 679450"/>
                <a:gd name="connsiteY13" fmla="*/ 133350 h 609600"/>
                <a:gd name="connsiteX14" fmla="*/ 571500 w 679450"/>
                <a:gd name="connsiteY14" fmla="*/ 76200 h 609600"/>
                <a:gd name="connsiteX15" fmla="*/ 514350 w 679450"/>
                <a:gd name="connsiteY15" fmla="*/ 6350 h 609600"/>
                <a:gd name="connsiteX16" fmla="*/ 419100 w 679450"/>
                <a:gd name="connsiteY16" fmla="*/ 0 h 609600"/>
                <a:gd name="connsiteX17" fmla="*/ 368300 w 679450"/>
                <a:gd name="connsiteY17" fmla="*/ 50800 h 609600"/>
                <a:gd name="connsiteX18" fmla="*/ 330200 w 679450"/>
                <a:gd name="connsiteY18" fmla="*/ 50800 h 609600"/>
                <a:gd name="connsiteX19" fmla="*/ 234950 w 679450"/>
                <a:gd name="connsiteY19" fmla="*/ 76200 h 609600"/>
                <a:gd name="connsiteX20" fmla="*/ 177800 w 679450"/>
                <a:gd name="connsiteY20" fmla="*/ 120650 h 609600"/>
                <a:gd name="connsiteX21" fmla="*/ 120650 w 679450"/>
                <a:gd name="connsiteY21" fmla="*/ 76200 h 609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79450" h="609600">
                  <a:moveTo>
                    <a:pt x="120650" y="76200"/>
                  </a:moveTo>
                  <a:lnTo>
                    <a:pt x="25400" y="152400"/>
                  </a:lnTo>
                  <a:lnTo>
                    <a:pt x="0" y="209550"/>
                  </a:lnTo>
                  <a:lnTo>
                    <a:pt x="25400" y="285750"/>
                  </a:lnTo>
                  <a:lnTo>
                    <a:pt x="101600" y="381000"/>
                  </a:lnTo>
                  <a:lnTo>
                    <a:pt x="234950" y="393700"/>
                  </a:lnTo>
                  <a:lnTo>
                    <a:pt x="374650" y="425450"/>
                  </a:lnTo>
                  <a:lnTo>
                    <a:pt x="431800" y="508000"/>
                  </a:lnTo>
                  <a:lnTo>
                    <a:pt x="495300" y="609600"/>
                  </a:lnTo>
                  <a:lnTo>
                    <a:pt x="635000" y="577850"/>
                  </a:lnTo>
                  <a:lnTo>
                    <a:pt x="679450" y="514350"/>
                  </a:lnTo>
                  <a:lnTo>
                    <a:pt x="679450" y="368300"/>
                  </a:lnTo>
                  <a:lnTo>
                    <a:pt x="641350" y="222250"/>
                  </a:lnTo>
                  <a:lnTo>
                    <a:pt x="615950" y="133350"/>
                  </a:lnTo>
                  <a:lnTo>
                    <a:pt x="571500" y="76200"/>
                  </a:lnTo>
                  <a:lnTo>
                    <a:pt x="514350" y="6350"/>
                  </a:lnTo>
                  <a:lnTo>
                    <a:pt x="419100" y="0"/>
                  </a:lnTo>
                  <a:lnTo>
                    <a:pt x="368300" y="50800"/>
                  </a:lnTo>
                  <a:lnTo>
                    <a:pt x="330200" y="50800"/>
                  </a:lnTo>
                  <a:lnTo>
                    <a:pt x="234950" y="76200"/>
                  </a:lnTo>
                  <a:lnTo>
                    <a:pt x="177800" y="120650"/>
                  </a:lnTo>
                  <a:lnTo>
                    <a:pt x="120650" y="76200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 dirty="0"/>
            </a:p>
          </p:txBody>
        </p:sp>
        <p:sp>
          <p:nvSpPr>
            <p:cNvPr id="351" name="Figura a mano libera: forma 350">
              <a:extLst>
                <a:ext uri="{FF2B5EF4-FFF2-40B4-BE49-F238E27FC236}">
                  <a16:creationId xmlns="" xmlns:a16="http://schemas.microsoft.com/office/drawing/2014/main" id="{E554FE80-89CB-4B72-B0CE-D33801109E94}"/>
                </a:ext>
              </a:extLst>
            </p:cNvPr>
            <p:cNvSpPr/>
            <p:nvPr/>
          </p:nvSpPr>
          <p:spPr bwMode="auto">
            <a:xfrm>
              <a:off x="6122442" y="3688452"/>
              <a:ext cx="525780" cy="388620"/>
            </a:xfrm>
            <a:custGeom>
              <a:avLst/>
              <a:gdLst>
                <a:gd name="connsiteX0" fmla="*/ 0 w 525780"/>
                <a:gd name="connsiteY0" fmla="*/ 0 h 388620"/>
                <a:gd name="connsiteX1" fmla="*/ 205740 w 525780"/>
                <a:gd name="connsiteY1" fmla="*/ 171450 h 388620"/>
                <a:gd name="connsiteX2" fmla="*/ 331470 w 525780"/>
                <a:gd name="connsiteY2" fmla="*/ 308610 h 388620"/>
                <a:gd name="connsiteX3" fmla="*/ 502920 w 525780"/>
                <a:gd name="connsiteY3" fmla="*/ 388620 h 388620"/>
                <a:gd name="connsiteX4" fmla="*/ 525780 w 525780"/>
                <a:gd name="connsiteY4" fmla="*/ 308610 h 388620"/>
                <a:gd name="connsiteX5" fmla="*/ 525780 w 525780"/>
                <a:gd name="connsiteY5" fmla="*/ 217170 h 388620"/>
                <a:gd name="connsiteX6" fmla="*/ 457200 w 525780"/>
                <a:gd name="connsiteY6" fmla="*/ 148590 h 388620"/>
                <a:gd name="connsiteX7" fmla="*/ 434340 w 525780"/>
                <a:gd name="connsiteY7" fmla="*/ 114300 h 388620"/>
                <a:gd name="connsiteX8" fmla="*/ 251460 w 525780"/>
                <a:gd name="connsiteY8" fmla="*/ 114300 h 388620"/>
                <a:gd name="connsiteX9" fmla="*/ 182880 w 525780"/>
                <a:gd name="connsiteY9" fmla="*/ 57150 h 388620"/>
                <a:gd name="connsiteX10" fmla="*/ 68580 w 525780"/>
                <a:gd name="connsiteY10" fmla="*/ 45720 h 388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5780" h="388620">
                  <a:moveTo>
                    <a:pt x="0" y="0"/>
                  </a:moveTo>
                  <a:lnTo>
                    <a:pt x="205740" y="171450"/>
                  </a:lnTo>
                  <a:lnTo>
                    <a:pt x="331470" y="308610"/>
                  </a:lnTo>
                  <a:lnTo>
                    <a:pt x="502920" y="388620"/>
                  </a:lnTo>
                  <a:lnTo>
                    <a:pt x="525780" y="308610"/>
                  </a:lnTo>
                  <a:lnTo>
                    <a:pt x="525780" y="217170"/>
                  </a:lnTo>
                  <a:lnTo>
                    <a:pt x="457200" y="148590"/>
                  </a:lnTo>
                  <a:lnTo>
                    <a:pt x="434340" y="114300"/>
                  </a:lnTo>
                  <a:lnTo>
                    <a:pt x="251460" y="114300"/>
                  </a:lnTo>
                  <a:lnTo>
                    <a:pt x="182880" y="57150"/>
                  </a:lnTo>
                  <a:lnTo>
                    <a:pt x="68580" y="45720"/>
                  </a:lnTo>
                </a:path>
              </a:pathLst>
            </a:custGeom>
            <a:grpFill/>
            <a:ln w="19050">
              <a:solidFill>
                <a:schemeClr val="bg1"/>
              </a:solidFill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endParaRPr lang="it-IT" sz="3600"/>
            </a:p>
          </p:txBody>
        </p:sp>
      </p:grpSp>
      <p:grpSp>
        <p:nvGrpSpPr>
          <p:cNvPr id="2399" name="Gruppo 2398"/>
          <p:cNvGrpSpPr/>
          <p:nvPr/>
        </p:nvGrpSpPr>
        <p:grpSpPr>
          <a:xfrm>
            <a:off x="636870" y="1059433"/>
            <a:ext cx="5573238" cy="2732300"/>
            <a:chOff x="636870" y="1059433"/>
            <a:chExt cx="5573238" cy="2732300"/>
          </a:xfrm>
        </p:grpSpPr>
        <p:grpSp>
          <p:nvGrpSpPr>
            <p:cNvPr id="2400" name="Gruppo 2399"/>
            <p:cNvGrpSpPr/>
            <p:nvPr/>
          </p:nvGrpSpPr>
          <p:grpSpPr>
            <a:xfrm>
              <a:off x="2909497" y="1547500"/>
              <a:ext cx="1367655" cy="1546938"/>
              <a:chOff x="2909497" y="1547500"/>
              <a:chExt cx="1367655" cy="1546938"/>
            </a:xfrm>
          </p:grpSpPr>
          <p:sp>
            <p:nvSpPr>
              <p:cNvPr id="2502" name="Rettangolo 2501">
                <a:extLst>
                  <a:ext uri="{FF2B5EF4-FFF2-40B4-BE49-F238E27FC236}">
                    <a16:creationId xmlns="" xmlns:a16="http://schemas.microsoft.com/office/drawing/2014/main" id="{CC8731E4-E6B6-467D-9B7B-35A7DBBE8DBF}"/>
                  </a:ext>
                </a:extLst>
              </p:cNvPr>
              <p:cNvSpPr/>
              <p:nvPr/>
            </p:nvSpPr>
            <p:spPr bwMode="auto">
              <a:xfrm>
                <a:off x="2909497" y="1547500"/>
                <a:ext cx="1367655" cy="40573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1100" b="1" dirty="0">
                    <a:solidFill>
                      <a:srgbClr val="000000"/>
                    </a:solidFill>
                    <a:latin typeface="Arial"/>
                  </a:rPr>
                  <a:t>Tiburtino III lotto 12</a:t>
                </a:r>
              </a:p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900" dirty="0">
                    <a:solidFill>
                      <a:srgbClr val="000000"/>
                    </a:solidFill>
                    <a:latin typeface="Arial"/>
                  </a:rPr>
                  <a:t>Via Tagliacozzo </a:t>
                </a:r>
              </a:p>
            </p:txBody>
          </p:sp>
          <p:sp>
            <p:nvSpPr>
              <p:cNvPr id="2503" name="Figura a mano libera 2502"/>
              <p:cNvSpPr/>
              <p:nvPr/>
            </p:nvSpPr>
            <p:spPr bwMode="auto">
              <a:xfrm flipH="1">
                <a:off x="3037277" y="1943100"/>
                <a:ext cx="350156" cy="1047750"/>
              </a:xfrm>
              <a:custGeom>
                <a:avLst/>
                <a:gdLst>
                  <a:gd name="connsiteX0" fmla="*/ 1117600 w 1335314"/>
                  <a:gd name="connsiteY0" fmla="*/ 0 h 1625600"/>
                  <a:gd name="connsiteX1" fmla="*/ 0 w 1335314"/>
                  <a:gd name="connsiteY1" fmla="*/ 1625600 h 1625600"/>
                  <a:gd name="connsiteX2" fmla="*/ 1335314 w 1335314"/>
                  <a:gd name="connsiteY2" fmla="*/ 14514 h 1625600"/>
                  <a:gd name="connsiteX0" fmla="*/ 175647 w 393361"/>
                  <a:gd name="connsiteY0" fmla="*/ 0 h 1660340"/>
                  <a:gd name="connsiteX1" fmla="*/ 0 w 393361"/>
                  <a:gd name="connsiteY1" fmla="*/ 1660340 h 1660340"/>
                  <a:gd name="connsiteX2" fmla="*/ 393361 w 393361"/>
                  <a:gd name="connsiteY2" fmla="*/ 14514 h 1660340"/>
                  <a:gd name="connsiteX0" fmla="*/ 175647 w 688600"/>
                  <a:gd name="connsiteY0" fmla="*/ 31806 h 1692146"/>
                  <a:gd name="connsiteX1" fmla="*/ 0 w 688600"/>
                  <a:gd name="connsiteY1" fmla="*/ 1692146 h 1692146"/>
                  <a:gd name="connsiteX2" fmla="*/ 688600 w 688600"/>
                  <a:gd name="connsiteY2" fmla="*/ 0 h 1692146"/>
                  <a:gd name="connsiteX0" fmla="*/ 372473 w 688600"/>
                  <a:gd name="connsiteY0" fmla="*/ 43386 h 1692146"/>
                  <a:gd name="connsiteX1" fmla="*/ 0 w 688600"/>
                  <a:gd name="connsiteY1" fmla="*/ 1692146 h 1692146"/>
                  <a:gd name="connsiteX2" fmla="*/ 688600 w 688600"/>
                  <a:gd name="connsiteY2" fmla="*/ 0 h 1692146"/>
                  <a:gd name="connsiteX0" fmla="*/ 372473 w 702659"/>
                  <a:gd name="connsiteY0" fmla="*/ 0 h 1648760"/>
                  <a:gd name="connsiteX1" fmla="*/ 0 w 702659"/>
                  <a:gd name="connsiteY1" fmla="*/ 1648760 h 1648760"/>
                  <a:gd name="connsiteX2" fmla="*/ 702659 w 702659"/>
                  <a:gd name="connsiteY2" fmla="*/ 2934 h 16487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2659" h="1648760">
                    <a:moveTo>
                      <a:pt x="372473" y="0"/>
                    </a:moveTo>
                    <a:lnTo>
                      <a:pt x="0" y="1648760"/>
                    </a:lnTo>
                    <a:lnTo>
                      <a:pt x="702659" y="2934"/>
                    </a:ln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92075" tIns="46038" rIns="92075" bIns="4603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3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  <p:sp>
            <p:nvSpPr>
              <p:cNvPr id="2504" name="Ovale 250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76896" y="3028435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05" name="Ovale 250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418365" y="3027985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06" name="Ovale 250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44826" y="2982261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07" name="Ovale 250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41101" y="3067272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08" name="Ovale 250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51022" y="3028435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09" name="Ovale 250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07851" y="3054365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10" name="Ovale 250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04141" y="2956091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11" name="Ovale 251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411177" y="2996838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12" name="Ovale 251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299148" y="3011453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13" name="Ovale 251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327963" y="2923229"/>
                <a:ext cx="27167" cy="27166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514" name="Rettangolo 2513">
                <a:extLst>
                  <a:ext uri="{FF2B5EF4-FFF2-40B4-BE49-F238E27FC236}">
                    <a16:creationId xmlns="" xmlns:a16="http://schemas.microsoft.com/office/drawing/2014/main" id="{E76C19F7-1391-4248-96CE-C159D3311060}"/>
                  </a:ext>
                </a:extLst>
              </p:cNvPr>
              <p:cNvSpPr/>
              <p:nvPr/>
            </p:nvSpPr>
            <p:spPr bwMode="auto">
              <a:xfrm>
                <a:off x="4065804" y="1806401"/>
                <a:ext cx="211347" cy="14683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8000" tIns="18000" rIns="18000" bIns="1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Aft>
                    <a:spcPts val="200"/>
                  </a:spcAft>
                </a:pPr>
                <a:r>
                  <a:rPr lang="it-IT" sz="900" b="1" i="1" dirty="0">
                    <a:solidFill>
                      <a:schemeClr val="bg1"/>
                    </a:solidFill>
                    <a:latin typeface="Arial"/>
                  </a:rPr>
                  <a:t>10</a:t>
                </a:r>
              </a:p>
            </p:txBody>
          </p:sp>
        </p:grpSp>
        <p:grpSp>
          <p:nvGrpSpPr>
            <p:cNvPr id="2401" name="Gruppo 2400"/>
            <p:cNvGrpSpPr/>
            <p:nvPr/>
          </p:nvGrpSpPr>
          <p:grpSpPr>
            <a:xfrm>
              <a:off x="743613" y="2564903"/>
              <a:ext cx="1638345" cy="583347"/>
              <a:chOff x="743613" y="2564903"/>
              <a:chExt cx="1638345" cy="583347"/>
            </a:xfrm>
          </p:grpSpPr>
          <p:sp>
            <p:nvSpPr>
              <p:cNvPr id="2494" name="Rettangolo 2493">
                <a:extLst>
                  <a:ext uri="{FF2B5EF4-FFF2-40B4-BE49-F238E27FC236}">
                    <a16:creationId xmlns="" xmlns:a16="http://schemas.microsoft.com/office/drawing/2014/main" id="{CC8731E4-E6B6-467D-9B7B-35A7DBBE8DBF}"/>
                  </a:ext>
                </a:extLst>
              </p:cNvPr>
              <p:cNvSpPr/>
              <p:nvPr/>
            </p:nvSpPr>
            <p:spPr bwMode="auto">
              <a:xfrm>
                <a:off x="1046770" y="2564903"/>
                <a:ext cx="1335188" cy="4068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1100" b="1" dirty="0" err="1">
                    <a:solidFill>
                      <a:srgbClr val="000000"/>
                    </a:solidFill>
                    <a:latin typeface="Arial"/>
                  </a:rPr>
                  <a:t>Primavalle</a:t>
                </a:r>
                <a:endParaRPr lang="it-IT" sz="1100" b="1" dirty="0">
                  <a:solidFill>
                    <a:srgbClr val="000000"/>
                  </a:solidFill>
                  <a:latin typeface="Arial"/>
                </a:endParaRPr>
              </a:p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900" dirty="0">
                    <a:solidFill>
                      <a:srgbClr val="000000"/>
                    </a:solidFill>
                    <a:latin typeface="Arial"/>
                  </a:rPr>
                  <a:t>Via </a:t>
                </a:r>
                <a:r>
                  <a:rPr lang="it-IT" sz="900" dirty="0" err="1" smtClean="0">
                    <a:solidFill>
                      <a:srgbClr val="000000"/>
                    </a:solidFill>
                    <a:latin typeface="Arial"/>
                  </a:rPr>
                  <a:t>Bembo</a:t>
                </a:r>
                <a:endParaRPr lang="it-IT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grpSp>
            <p:nvGrpSpPr>
              <p:cNvPr id="2495" name="Gruppo 2494"/>
              <p:cNvGrpSpPr/>
              <p:nvPr/>
            </p:nvGrpSpPr>
            <p:grpSpPr>
              <a:xfrm>
                <a:off x="743613" y="3078684"/>
                <a:ext cx="55914" cy="69566"/>
                <a:chOff x="1164345" y="3067374"/>
                <a:chExt cx="74094" cy="92186"/>
              </a:xfrm>
            </p:grpSpPr>
            <p:sp>
              <p:nvSpPr>
                <p:cNvPr id="2498" name="Ovale 249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170837" y="3067374"/>
                  <a:ext cx="36000" cy="360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499" name="Ovale 249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202439" y="3123560"/>
                  <a:ext cx="36000" cy="360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500" name="Ovale 249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164345" y="3111076"/>
                  <a:ext cx="36000" cy="360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501" name="Ovale 250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198758" y="3082836"/>
                  <a:ext cx="36000" cy="360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  <p:sp>
            <p:nvSpPr>
              <p:cNvPr id="2496" name="Figura a mano libera 2495"/>
              <p:cNvSpPr/>
              <p:nvPr/>
            </p:nvSpPr>
            <p:spPr bwMode="auto">
              <a:xfrm rot="16200000" flipV="1">
                <a:off x="748753" y="2731027"/>
                <a:ext cx="371278" cy="273852"/>
              </a:xfrm>
              <a:custGeom>
                <a:avLst/>
                <a:gdLst>
                  <a:gd name="connsiteX0" fmla="*/ 1117600 w 1335314"/>
                  <a:gd name="connsiteY0" fmla="*/ 0 h 1625600"/>
                  <a:gd name="connsiteX1" fmla="*/ 0 w 1335314"/>
                  <a:gd name="connsiteY1" fmla="*/ 1625600 h 1625600"/>
                  <a:gd name="connsiteX2" fmla="*/ 1335314 w 1335314"/>
                  <a:gd name="connsiteY2" fmla="*/ 14514 h 1625600"/>
                  <a:gd name="connsiteX0" fmla="*/ 330296 w 548010"/>
                  <a:gd name="connsiteY0" fmla="*/ 0 h 393492"/>
                  <a:gd name="connsiteX1" fmla="*/ 0 w 548010"/>
                  <a:gd name="connsiteY1" fmla="*/ 393492 h 393492"/>
                  <a:gd name="connsiteX2" fmla="*/ 548010 w 548010"/>
                  <a:gd name="connsiteY2" fmla="*/ 14514 h 393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10" h="393492">
                    <a:moveTo>
                      <a:pt x="330296" y="0"/>
                    </a:moveTo>
                    <a:lnTo>
                      <a:pt x="0" y="393492"/>
                    </a:lnTo>
                    <a:lnTo>
                      <a:pt x="548010" y="14514"/>
                    </a:ln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92075" tIns="46038" rIns="92075" bIns="4603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3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  <p:sp>
            <p:nvSpPr>
              <p:cNvPr id="2497" name="Rettangolo 2496">
                <a:extLst>
                  <a:ext uri="{FF2B5EF4-FFF2-40B4-BE49-F238E27FC236}">
                    <a16:creationId xmlns="" xmlns:a16="http://schemas.microsoft.com/office/drawing/2014/main" id="{106A934F-B4D9-478E-897F-3585D41F1977}"/>
                  </a:ext>
                </a:extLst>
              </p:cNvPr>
              <p:cNvSpPr/>
              <p:nvPr/>
            </p:nvSpPr>
            <p:spPr bwMode="auto">
              <a:xfrm>
                <a:off x="2170610" y="2824866"/>
                <a:ext cx="211347" cy="14683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8000" tIns="18000" rIns="18000" bIns="1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Aft>
                    <a:spcPts val="200"/>
                  </a:spcAft>
                </a:pPr>
                <a:r>
                  <a:rPr lang="it-IT" sz="900" b="1" i="1" dirty="0">
                    <a:solidFill>
                      <a:schemeClr val="bg1"/>
                    </a:solidFill>
                    <a:latin typeface="Arial"/>
                  </a:rPr>
                  <a:t>4</a:t>
                </a:r>
              </a:p>
            </p:txBody>
          </p:sp>
        </p:grpSp>
        <p:grpSp>
          <p:nvGrpSpPr>
            <p:cNvPr id="2402" name="Gruppo 2401"/>
            <p:cNvGrpSpPr/>
            <p:nvPr/>
          </p:nvGrpSpPr>
          <p:grpSpPr>
            <a:xfrm>
              <a:off x="4444165" y="2265947"/>
              <a:ext cx="1368139" cy="1219363"/>
              <a:chOff x="4444165" y="2265947"/>
              <a:chExt cx="1368139" cy="1219363"/>
            </a:xfrm>
          </p:grpSpPr>
          <p:sp>
            <p:nvSpPr>
              <p:cNvPr id="2431" name="Rettangolo 2430">
                <a:extLst>
                  <a:ext uri="{FF2B5EF4-FFF2-40B4-BE49-F238E27FC236}">
                    <a16:creationId xmlns="" xmlns:a16="http://schemas.microsoft.com/office/drawing/2014/main" id="{CC8731E4-E6B6-467D-9B7B-35A7DBBE8DBF}"/>
                  </a:ext>
                </a:extLst>
              </p:cNvPr>
              <p:cNvSpPr/>
              <p:nvPr/>
            </p:nvSpPr>
            <p:spPr bwMode="auto">
              <a:xfrm>
                <a:off x="4592460" y="2265947"/>
                <a:ext cx="1219844" cy="4068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0"/>
                  </a:spcAft>
                  <a:defRPr/>
                </a:pPr>
                <a:r>
                  <a:rPr lang="it-IT" sz="1100" b="1" dirty="0">
                    <a:solidFill>
                      <a:srgbClr val="000000"/>
                    </a:solidFill>
                    <a:latin typeface="Arial"/>
                  </a:rPr>
                  <a:t>Ponte di Nona</a:t>
                </a:r>
              </a:p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900" dirty="0" smtClean="0">
                    <a:solidFill>
                      <a:srgbClr val="000000"/>
                    </a:solidFill>
                    <a:latin typeface="Arial"/>
                  </a:rPr>
                  <a:t>Comparto </a:t>
                </a:r>
                <a:r>
                  <a:rPr lang="it-IT" sz="900" dirty="0">
                    <a:solidFill>
                      <a:srgbClr val="000000"/>
                    </a:solidFill>
                    <a:latin typeface="Arial"/>
                  </a:rPr>
                  <a:t>9-11</a:t>
                </a:r>
              </a:p>
            </p:txBody>
          </p:sp>
          <p:sp>
            <p:nvSpPr>
              <p:cNvPr id="2432" name="Figura a mano libera 2431"/>
              <p:cNvSpPr/>
              <p:nvPr/>
            </p:nvSpPr>
            <p:spPr bwMode="auto">
              <a:xfrm>
                <a:off x="4776287" y="2630442"/>
                <a:ext cx="455098" cy="597984"/>
              </a:xfrm>
              <a:custGeom>
                <a:avLst/>
                <a:gdLst>
                  <a:gd name="connsiteX0" fmla="*/ 1117600 w 1335314"/>
                  <a:gd name="connsiteY0" fmla="*/ 0 h 1625600"/>
                  <a:gd name="connsiteX1" fmla="*/ 0 w 1335314"/>
                  <a:gd name="connsiteY1" fmla="*/ 1625600 h 1625600"/>
                  <a:gd name="connsiteX2" fmla="*/ 1335314 w 1335314"/>
                  <a:gd name="connsiteY2" fmla="*/ 14514 h 1625600"/>
                  <a:gd name="connsiteX0" fmla="*/ 454015 w 671729"/>
                  <a:gd name="connsiteY0" fmla="*/ 0 h 726995"/>
                  <a:gd name="connsiteX1" fmla="*/ 0 w 671729"/>
                  <a:gd name="connsiteY1" fmla="*/ 726995 h 726995"/>
                  <a:gd name="connsiteX2" fmla="*/ 671729 w 671729"/>
                  <a:gd name="connsiteY2" fmla="*/ 14514 h 7269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71729" h="726995">
                    <a:moveTo>
                      <a:pt x="454015" y="0"/>
                    </a:moveTo>
                    <a:lnTo>
                      <a:pt x="0" y="726995"/>
                    </a:lnTo>
                    <a:lnTo>
                      <a:pt x="671729" y="14514"/>
                    </a:ln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92075" tIns="46038" rIns="92075" bIns="4603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3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  <p:sp>
            <p:nvSpPr>
              <p:cNvPr id="2433" name="Ovale 243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12947" y="329498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34" name="Ovale 243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47722" y="333097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35" name="Ovale 243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07392" y="321415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36" name="Ovale 243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16030" y="3241061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37" name="Ovale 243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18192" y="3325431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38" name="Ovale 243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91025" y="3337552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39" name="Ovale 243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95186" y="336619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0" name="Ovale 243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81147" y="327600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1" name="Ovale 244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496012" y="3337552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2" name="Ovale 244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81020" y="328785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3" name="Ovale 244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23178" y="3281402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4" name="Ovale 244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42478" y="320069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5" name="Ovale 244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444165" y="324972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6" name="Ovale 244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50344" y="3207348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7" name="Ovale 244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02989" y="317234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8" name="Ovale 244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47722" y="3231142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49" name="Ovale 244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20556" y="324326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0" name="Ovale 244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58079" y="331161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1" name="Ovale 245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70065" y="3205540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2" name="Ovale 245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00917" y="3225439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3" name="Ovale 245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54752" y="325571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4" name="Ovale 245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40213" y="323523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5" name="Ovale 245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74988" y="327122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6" name="Ovale 245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08286" y="324966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7" name="Ovale 245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45457" y="329284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8" name="Ovale 245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45457" y="3265678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59" name="Ovale 245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83636" y="330843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0" name="Ovale 245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10292" y="330644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1" name="Ovale 246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67800" y="324007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2" name="Ovale 246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53808" y="327667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3" name="Ovale 246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08286" y="3228102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4" name="Ovale 246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67800" y="3304910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5" name="Ovale 246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31592" y="320993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6" name="Ovale 246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37252" y="333591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7" name="Ovale 246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70550" y="331435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8" name="Ovale 246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07722" y="335753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69" name="Ovale 246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50761" y="325421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0" name="Ovale 246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80555" y="3342490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1" name="Ovale 247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14353" y="3299110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2" name="Ovale 247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86004" y="327509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3" name="Ovale 247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49408" y="3342490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4" name="Ovale 247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91381" y="345814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5" name="Ovale 247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30599" y="339875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6" name="Ovale 247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69983" y="321032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7" name="Ovale 247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58458" y="333591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8" name="Ovale 247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27935" y="3342401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79" name="Ovale 247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44168" y="345481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0" name="Ovale 247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42822" y="343229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1" name="Ovale 248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69982" y="342228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2" name="Ovale 248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28083" y="340978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3" name="Ovale 248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77530" y="3441323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4" name="Ovale 248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98672" y="339162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5" name="Ovale 248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39542" y="3175102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6" name="Ovale 248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53554" y="341272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7" name="Ovale 248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786852" y="3391166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8" name="Ovale 248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548128" y="3384200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89" name="Ovale 248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24023" y="3407178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90" name="Ovale 248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485418" y="3274544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91" name="Ovale 249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668816" y="3380825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92" name="Ovale 249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4846366" y="3381577"/>
                <a:ext cx="27166" cy="27167"/>
              </a:xfrm>
              <a:prstGeom prst="ellipse">
                <a:avLst/>
              </a:prstGeom>
              <a:solidFill>
                <a:schemeClr val="accent2"/>
              </a:solidFill>
              <a:ln w="3175">
                <a:solidFill>
                  <a:schemeClr val="accent2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493" name="Rettangolo 2492">
                <a:extLst>
                  <a:ext uri="{FF2B5EF4-FFF2-40B4-BE49-F238E27FC236}">
                    <a16:creationId xmlns="" xmlns:a16="http://schemas.microsoft.com/office/drawing/2014/main" id="{090E2497-5A5E-4DF7-A837-9F7C2889CD6A}"/>
                  </a:ext>
                </a:extLst>
              </p:cNvPr>
              <p:cNvSpPr/>
              <p:nvPr/>
            </p:nvSpPr>
            <p:spPr bwMode="auto">
              <a:xfrm>
                <a:off x="5600956" y="2525910"/>
                <a:ext cx="211347" cy="146837"/>
              </a:xfrm>
              <a:prstGeom prst="rect">
                <a:avLst/>
              </a:prstGeom>
              <a:solidFill>
                <a:schemeClr val="accent2"/>
              </a:solidFill>
              <a:ln w="9525" cap="flat" cmpd="sng" algn="ctr">
                <a:solidFill>
                  <a:schemeClr val="accent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8000" tIns="18000" rIns="18000" bIns="1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Aft>
                    <a:spcPts val="200"/>
                  </a:spcAft>
                </a:pPr>
                <a:r>
                  <a:rPr lang="it-IT" sz="900" b="1" i="1" dirty="0">
                    <a:solidFill>
                      <a:schemeClr val="bg1"/>
                    </a:solidFill>
                    <a:latin typeface="Arial"/>
                  </a:rPr>
                  <a:t>68</a:t>
                </a:r>
              </a:p>
            </p:txBody>
          </p:sp>
        </p:grpSp>
        <p:sp>
          <p:nvSpPr>
            <p:cNvPr id="2403" name="Ovale 240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417700" y="1100862"/>
              <a:ext cx="71030" cy="71030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404" name="CasellaDiTesto 2403">
              <a:extLst>
                <a:ext uri="{FF2B5EF4-FFF2-40B4-BE49-F238E27FC236}">
                  <a16:creationId xmlns="" xmlns:a16="http://schemas.microsoft.com/office/drawing/2014/main" id="{B7FBC9CA-039F-498B-9A32-2166FCD1BE22}"/>
                </a:ext>
              </a:extLst>
            </p:cNvPr>
            <p:cNvSpPr txBox="1"/>
            <p:nvPr/>
          </p:nvSpPr>
          <p:spPr>
            <a:xfrm>
              <a:off x="5594555" y="1059433"/>
              <a:ext cx="615553" cy="15388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2019 </a:t>
              </a:r>
              <a:r>
                <a:rPr kumimoji="0" lang="it-IT" sz="10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(103)</a:t>
              </a:r>
              <a:endPara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grpSp>
          <p:nvGrpSpPr>
            <p:cNvPr id="2405" name="Gruppo 2404"/>
            <p:cNvGrpSpPr/>
            <p:nvPr/>
          </p:nvGrpSpPr>
          <p:grpSpPr>
            <a:xfrm>
              <a:off x="636870" y="3192966"/>
              <a:ext cx="1649615" cy="598767"/>
              <a:chOff x="636870" y="3192966"/>
              <a:chExt cx="1649615" cy="598767"/>
            </a:xfrm>
          </p:grpSpPr>
          <p:sp>
            <p:nvSpPr>
              <p:cNvPr id="2406" name="Rettangolo 2405">
                <a:extLst>
                  <a:ext uri="{FF2B5EF4-FFF2-40B4-BE49-F238E27FC236}">
                    <a16:creationId xmlns="" xmlns:a16="http://schemas.microsoft.com/office/drawing/2014/main" id="{CC8731E4-E6B6-467D-9B7B-35A7DBBE8DBF}"/>
                  </a:ext>
                </a:extLst>
              </p:cNvPr>
              <p:cNvSpPr/>
              <p:nvPr/>
            </p:nvSpPr>
            <p:spPr bwMode="auto">
              <a:xfrm>
                <a:off x="1107827" y="3192966"/>
                <a:ext cx="1178658" cy="40034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1100" b="1" dirty="0" err="1">
                    <a:solidFill>
                      <a:srgbClr val="000000"/>
                    </a:solidFill>
                    <a:latin typeface="Arial"/>
                  </a:rPr>
                  <a:t>Corviale</a:t>
                </a:r>
                <a:endParaRPr lang="it-IT" sz="1100" b="1" dirty="0">
                  <a:solidFill>
                    <a:srgbClr val="000000"/>
                  </a:solidFill>
                  <a:latin typeface="Arial"/>
                </a:endParaRPr>
              </a:p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900" dirty="0">
                    <a:solidFill>
                      <a:srgbClr val="000000"/>
                    </a:solidFill>
                    <a:latin typeface="Arial"/>
                  </a:rPr>
                  <a:t>3^ 4^ e 5^ piano </a:t>
                </a:r>
              </a:p>
            </p:txBody>
          </p:sp>
          <p:sp>
            <p:nvSpPr>
              <p:cNvPr id="2407" name="Figura a mano libera 2406"/>
              <p:cNvSpPr/>
              <p:nvPr/>
            </p:nvSpPr>
            <p:spPr bwMode="auto">
              <a:xfrm rot="16200000" flipV="1">
                <a:off x="765222" y="3380437"/>
                <a:ext cx="383185" cy="304615"/>
              </a:xfrm>
              <a:custGeom>
                <a:avLst/>
                <a:gdLst>
                  <a:gd name="connsiteX0" fmla="*/ 1117600 w 1335314"/>
                  <a:gd name="connsiteY0" fmla="*/ 0 h 1625600"/>
                  <a:gd name="connsiteX1" fmla="*/ 0 w 1335314"/>
                  <a:gd name="connsiteY1" fmla="*/ 1625600 h 1625600"/>
                  <a:gd name="connsiteX2" fmla="*/ 1335314 w 1335314"/>
                  <a:gd name="connsiteY2" fmla="*/ 14514 h 1625600"/>
                  <a:gd name="connsiteX0" fmla="*/ 330296 w 548010"/>
                  <a:gd name="connsiteY0" fmla="*/ 0 h 393492"/>
                  <a:gd name="connsiteX1" fmla="*/ 0 w 548010"/>
                  <a:gd name="connsiteY1" fmla="*/ 393492 h 393492"/>
                  <a:gd name="connsiteX2" fmla="*/ 548010 w 548010"/>
                  <a:gd name="connsiteY2" fmla="*/ 14514 h 393492"/>
                  <a:gd name="connsiteX0" fmla="*/ 323267 w 548010"/>
                  <a:gd name="connsiteY0" fmla="*/ 14436 h 378978"/>
                  <a:gd name="connsiteX1" fmla="*/ 0 w 548010"/>
                  <a:gd name="connsiteY1" fmla="*/ 378978 h 378978"/>
                  <a:gd name="connsiteX2" fmla="*/ 548010 w 548010"/>
                  <a:gd name="connsiteY2" fmla="*/ 0 h 378978"/>
                  <a:gd name="connsiteX0" fmla="*/ 323267 w 548010"/>
                  <a:gd name="connsiteY0" fmla="*/ 14436 h 378978"/>
                  <a:gd name="connsiteX1" fmla="*/ 0 w 548010"/>
                  <a:gd name="connsiteY1" fmla="*/ 378978 h 378978"/>
                  <a:gd name="connsiteX2" fmla="*/ 548010 w 548010"/>
                  <a:gd name="connsiteY2" fmla="*/ 0 h 378978"/>
                  <a:gd name="connsiteX0" fmla="*/ 323267 w 565585"/>
                  <a:gd name="connsiteY0" fmla="*/ 2856 h 367398"/>
                  <a:gd name="connsiteX1" fmla="*/ 0 w 565585"/>
                  <a:gd name="connsiteY1" fmla="*/ 367398 h 367398"/>
                  <a:gd name="connsiteX2" fmla="*/ 565585 w 565585"/>
                  <a:gd name="connsiteY2" fmla="*/ 0 h 367398"/>
                  <a:gd name="connsiteX0" fmla="*/ 323267 w 565585"/>
                  <a:gd name="connsiteY0" fmla="*/ 0 h 370333"/>
                  <a:gd name="connsiteX1" fmla="*/ 0 w 565585"/>
                  <a:gd name="connsiteY1" fmla="*/ 370333 h 370333"/>
                  <a:gd name="connsiteX2" fmla="*/ 565585 w 565585"/>
                  <a:gd name="connsiteY2" fmla="*/ 2935 h 370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65585" h="370333">
                    <a:moveTo>
                      <a:pt x="323267" y="0"/>
                    </a:moveTo>
                    <a:lnTo>
                      <a:pt x="0" y="370333"/>
                    </a:lnTo>
                    <a:lnTo>
                      <a:pt x="565585" y="2935"/>
                    </a:ln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92075" tIns="46038" rIns="92075" bIns="4603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3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  <p:grpSp>
            <p:nvGrpSpPr>
              <p:cNvPr id="2408" name="Gruppo 2407"/>
              <p:cNvGrpSpPr/>
              <p:nvPr/>
            </p:nvGrpSpPr>
            <p:grpSpPr>
              <a:xfrm>
                <a:off x="636870" y="3462639"/>
                <a:ext cx="1649614" cy="329094"/>
                <a:chOff x="636870" y="3462639"/>
                <a:chExt cx="1649614" cy="329094"/>
              </a:xfrm>
            </p:grpSpPr>
            <p:sp>
              <p:nvSpPr>
                <p:cNvPr id="2409" name="Ovale 240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23052" y="3733826"/>
                  <a:ext cx="27166" cy="27166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410" name="Ovale 240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77602" y="3717380"/>
                  <a:ext cx="27166" cy="27166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411" name="Ovale 241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52774" y="3706353"/>
                  <a:ext cx="27166" cy="27166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412" name="Ovale 241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52825" y="3736101"/>
                  <a:ext cx="27166" cy="27166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413" name="Ovale 241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75758" y="3755038"/>
                  <a:ext cx="27166" cy="27166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414" name="Ovale 241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40183" y="3764567"/>
                  <a:ext cx="27166" cy="27166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solidFill>
                    <a:schemeClr val="accent2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grpSp>
              <p:nvGrpSpPr>
                <p:cNvPr id="2415" name="Gruppo 2414"/>
                <p:cNvGrpSpPr/>
                <p:nvPr/>
              </p:nvGrpSpPr>
              <p:grpSpPr>
                <a:xfrm>
                  <a:off x="636870" y="3462639"/>
                  <a:ext cx="1649614" cy="267278"/>
                  <a:chOff x="636870" y="3462639"/>
                  <a:chExt cx="1649614" cy="267278"/>
                </a:xfrm>
              </p:grpSpPr>
              <p:sp>
                <p:nvSpPr>
                  <p:cNvPr id="2416" name="Ovale 2415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75245" y="3625912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17" name="Ovale 2416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718993" y="3650218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18" name="Ovale 2417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48904" y="3649016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19" name="Ovale 2418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97037" y="3679501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0" name="Ovale 2419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89127" y="3653512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1" name="Ovale 2420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66667" y="3673018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2" name="Ovale 2421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67355" y="3702751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3" name="Ovale 2422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703047" y="3622514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4" name="Ovale 2423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36870" y="3682087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5" name="Ovale 2424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42625" y="3628387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6" name="Ovale 2425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722821" y="3698789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7" name="Ovale 2426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769829" y="3681615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8" name="Ovale 2427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738445" y="3675542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29" name="Ovale 2428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797698" y="3701857"/>
                    <a:ext cx="27166" cy="27166"/>
                  </a:xfrm>
                  <a:prstGeom prst="ellipse">
                    <a:avLst/>
                  </a:prstGeom>
                  <a:solidFill>
                    <a:schemeClr val="accent2"/>
                  </a:solidFill>
                  <a:ln w="3175">
                    <a:solidFill>
                      <a:schemeClr val="accent2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2430" name="Rettangolo 2429">
                    <a:extLst>
                      <a:ext uri="{FF2B5EF4-FFF2-40B4-BE49-F238E27FC236}">
                        <a16:creationId xmlns="" xmlns:a16="http://schemas.microsoft.com/office/drawing/2014/main" id="{E0714521-F857-4195-8FDC-3C6AB29DEFF7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2075137" y="3462639"/>
                    <a:ext cx="211347" cy="130667"/>
                  </a:xfrm>
                  <a:prstGeom prst="rect">
                    <a:avLst/>
                  </a:prstGeom>
                  <a:solidFill>
                    <a:schemeClr val="accent2"/>
                  </a:solidFill>
                  <a:ln w="9525" cap="flat" cmpd="sng" algn="ctr">
                    <a:solidFill>
                      <a:schemeClr val="accent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none" lIns="18000" tIns="18000" rIns="18000" bIns="1800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 eaLnBrk="0" hangingPunct="0">
                      <a:spcAft>
                        <a:spcPts val="200"/>
                      </a:spcAft>
                      <a:defRPr/>
                    </a:pPr>
                    <a:r>
                      <a:rPr lang="it-IT" sz="900" b="1" i="1" dirty="0" smtClean="0">
                        <a:solidFill>
                          <a:schemeClr val="bg1"/>
                        </a:solidFill>
                        <a:latin typeface="Arial"/>
                      </a:rPr>
                      <a:t>21</a:t>
                    </a:r>
                    <a:endParaRPr lang="it-IT" sz="900" b="1" i="1" dirty="0">
                      <a:solidFill>
                        <a:schemeClr val="bg1"/>
                      </a:solidFill>
                      <a:latin typeface="Arial"/>
                    </a:endParaRPr>
                  </a:p>
                </p:txBody>
              </p:sp>
            </p:grpSp>
          </p:grpSp>
        </p:grpSp>
      </p:grpSp>
      <p:grpSp>
        <p:nvGrpSpPr>
          <p:cNvPr id="2515" name="Gruppo 2514"/>
          <p:cNvGrpSpPr/>
          <p:nvPr/>
        </p:nvGrpSpPr>
        <p:grpSpPr>
          <a:xfrm>
            <a:off x="555886" y="969776"/>
            <a:ext cx="5654222" cy="4388594"/>
            <a:chOff x="555886" y="969776"/>
            <a:chExt cx="5654222" cy="4388594"/>
          </a:xfrm>
        </p:grpSpPr>
        <p:sp>
          <p:nvSpPr>
            <p:cNvPr id="2516" name="Rettangolo 251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2034562" y="4952631"/>
              <a:ext cx="1187263" cy="4057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100" b="1" dirty="0">
                  <a:solidFill>
                    <a:srgbClr val="000000"/>
                  </a:solidFill>
                  <a:latin typeface="Arial"/>
                </a:rPr>
                <a:t>LAURENTINO 38</a:t>
              </a:r>
            </a:p>
            <a:p>
              <a:pPr eaLnBrk="0" hangingPunct="0">
                <a:spcAft>
                  <a:spcPts val="200"/>
                </a:spcAft>
                <a:defRPr/>
              </a:pPr>
              <a:r>
                <a:rPr lang="it-IT" sz="900" dirty="0">
                  <a:solidFill>
                    <a:srgbClr val="000000"/>
                  </a:solidFill>
                  <a:latin typeface="Arial"/>
                </a:rPr>
                <a:t>Ponti 5/6 </a:t>
              </a:r>
            </a:p>
          </p:txBody>
        </p:sp>
        <p:sp>
          <p:nvSpPr>
            <p:cNvPr id="2517" name="Figura a mano libera 2516"/>
            <p:cNvSpPr/>
            <p:nvPr/>
          </p:nvSpPr>
          <p:spPr bwMode="auto">
            <a:xfrm flipV="1">
              <a:off x="2585739" y="4659796"/>
              <a:ext cx="371278" cy="323664"/>
            </a:xfrm>
            <a:custGeom>
              <a:avLst/>
              <a:gdLst>
                <a:gd name="connsiteX0" fmla="*/ 1117600 w 1335314"/>
                <a:gd name="connsiteY0" fmla="*/ 0 h 1625600"/>
                <a:gd name="connsiteX1" fmla="*/ 0 w 1335314"/>
                <a:gd name="connsiteY1" fmla="*/ 1625600 h 1625600"/>
                <a:gd name="connsiteX2" fmla="*/ 1335314 w 1335314"/>
                <a:gd name="connsiteY2" fmla="*/ 14514 h 1625600"/>
                <a:gd name="connsiteX0" fmla="*/ 330296 w 548010"/>
                <a:gd name="connsiteY0" fmla="*/ 0 h 393492"/>
                <a:gd name="connsiteX1" fmla="*/ 0 w 548010"/>
                <a:gd name="connsiteY1" fmla="*/ 393492 h 393492"/>
                <a:gd name="connsiteX2" fmla="*/ 548010 w 548010"/>
                <a:gd name="connsiteY2" fmla="*/ 14514 h 39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8010" h="393492">
                  <a:moveTo>
                    <a:pt x="330296" y="0"/>
                  </a:moveTo>
                  <a:lnTo>
                    <a:pt x="0" y="393492"/>
                  </a:lnTo>
                  <a:lnTo>
                    <a:pt x="548010" y="14514"/>
                  </a:lnTo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3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518" name="Ovale 251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86055" y="444836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19" name="Ovale 251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20831" y="448435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0" name="Ovale 251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54128" y="446279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1" name="Ovale 252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91300" y="450597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2" name="Ovale 252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91300" y="447880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3" name="Ovale 252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64133" y="449093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4" name="Ovale 252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299008" y="453096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5" name="Ovale 252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13643" y="445320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6" name="Ovale 252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32986" y="449093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7" name="Ovale 252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54128" y="444123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8" name="Ovale 252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31377" y="443478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29" name="Ovale 252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15586" y="435407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0" name="Ovale 252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50361" y="439006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1" name="Ovale 253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83659" y="436850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2" name="Ovale 253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20831" y="441168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3" name="Ovale 253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20831" y="438452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4" name="Ovale 253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93664" y="439664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5" name="Ovale 253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271252" y="459224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6" name="Ovale 253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43174" y="435891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7" name="Ovale 253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62517" y="439664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8" name="Ovale 253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291755" y="443021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39" name="Ovale 253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13322" y="438861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0" name="Ovale 253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48097" y="442460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1" name="Ovale 254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81395" y="440304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2" name="Ovale 254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18566" y="444622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3" name="Ovale 254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18566" y="441905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4" name="Ovale 254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03738" y="434836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5" name="Ovale 254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83401" y="445982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6" name="Ovale 254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40909" y="439345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7" name="Ovale 254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60252" y="443117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8" name="Ovale 254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57431" y="434429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49" name="Ovale 254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40909" y="445828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0" name="Ovale 254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28321" y="449697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1" name="Ovale 255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66416" y="451849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2" name="Ovale 255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75586" y="445330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3" name="Ovale 255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10361" y="448929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4" name="Ovale 255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10547" y="456934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5" name="Ovale 255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80830" y="451091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6" name="Ovale 255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284124" y="447442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7" name="Ovale 255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53664" y="449586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8" name="Ovale 255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45665" y="452451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59" name="Ovale 255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03173" y="445814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0" name="Ovale 255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09643" y="453096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1" name="Ovale 256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267710" y="455777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2" name="Ovale 256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10437" y="462186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3" name="Ovale 256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38483" y="458812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4" name="Ovale 256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71781" y="456656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5" name="Ovale 256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08952" y="460974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6" name="Ovale 256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08952" y="458257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7" name="Ovale 256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47389" y="465655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8" name="Ovale 256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73786" y="462334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69" name="Ovale 256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12832" y="464137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0" name="Ovale 256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50638" y="459470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1" name="Ovale 257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347068" y="453675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2" name="Ovale 257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73356" y="446507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3" name="Ovale 257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26663" y="456610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4" name="Ovale 257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59960" y="454454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5" name="Ovale 257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97132" y="458772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6" name="Ovale 257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97132" y="456055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7" name="Ovale 257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69965" y="457267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8" name="Ovale 257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461966" y="460132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79" name="Ovale 257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2519475" y="453495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0" name="Rettangolo 2579">
              <a:extLst>
                <a:ext uri="{FF2B5EF4-FFF2-40B4-BE49-F238E27FC236}">
                  <a16:creationId xmlns="" xmlns:a16="http://schemas.microsoft.com/office/drawing/2014/main" id="{BB9D05FB-6365-4EE5-819F-72B79171C1B9}"/>
                </a:ext>
              </a:extLst>
            </p:cNvPr>
            <p:cNvSpPr/>
            <p:nvPr/>
          </p:nvSpPr>
          <p:spPr bwMode="auto">
            <a:xfrm>
              <a:off x="3010477" y="5211532"/>
              <a:ext cx="211347" cy="146837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70</a:t>
              </a:r>
            </a:p>
          </p:txBody>
        </p:sp>
        <p:sp>
          <p:nvSpPr>
            <p:cNvPr id="2581" name="Rettangolo 258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2561359" y="3796409"/>
              <a:ext cx="1187263" cy="46972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100" b="1" dirty="0">
                  <a:solidFill>
                    <a:srgbClr val="000000"/>
                  </a:solidFill>
                  <a:latin typeface="Arial"/>
                </a:rPr>
                <a:t>Tor Vergat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900" dirty="0" smtClean="0">
                  <a:solidFill>
                    <a:srgbClr val="000000"/>
                  </a:solidFill>
                  <a:latin typeface="Arial"/>
                </a:rPr>
                <a:t>Via Ferruccio Ulivi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en-US" sz="900" dirty="0" err="1" smtClean="0">
                  <a:solidFill>
                    <a:srgbClr val="000000"/>
                  </a:solidFill>
                  <a:latin typeface="Arial"/>
                </a:rPr>
                <a:t>Comparto</a:t>
              </a:r>
              <a:r>
                <a:rPr lang="en-US" sz="900" dirty="0" smtClean="0">
                  <a:solidFill>
                    <a:srgbClr val="000000"/>
                  </a:solidFill>
                  <a:latin typeface="Arial"/>
                </a:rPr>
                <a:t> E</a:t>
              </a:r>
              <a:endParaRPr lang="it-IT" sz="9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82" name="Ovale 258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30029" y="374698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3" name="Ovale 258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64804" y="378297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4" name="Ovale 258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898102" y="376141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5" name="Ovale 258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35274" y="380459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6" name="Ovale 258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889392" y="364978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7" name="Ovale 258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08107" y="378954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8" name="Ovale 258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00108" y="381819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89" name="Ovale 258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57617" y="375182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0" name="Ovale 258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876960" y="378954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1" name="Ovale 259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898102" y="373984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2" name="Ovale 259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875351" y="373339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3" name="Ovale 259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59560" y="365269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4" name="Ovale 259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94335" y="368868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5" name="Ovale 259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27633" y="366712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6" name="Ovale 259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64804" y="3710303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7" name="Ovale 259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64804" y="368313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8" name="Ovale 259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37638" y="369525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599" name="Ovale 259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29238" y="364133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0" name="Ovale 259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87147" y="365753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1" name="Ovale 260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06491" y="369525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2" name="Ovale 260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27633" y="363921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3" name="Ovale 260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57295" y="368722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4" name="Ovale 260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92070" y="372321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5" name="Ovale 260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25368" y="3701660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6" name="Ovale 260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62540" y="374483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7" name="Ovale 260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62540" y="3717672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8" name="Ovale 260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35373" y="372979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09" name="Ovale 260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27374" y="375843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0" name="Ovale 260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84883" y="3692071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1" name="Ovale 261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104514" y="379568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2" name="Ovale 261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25368" y="3680096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3" name="Ovale 261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84883" y="375690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4" name="Ovale 261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19559" y="375191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5" name="Ovale 261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54335" y="378790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6" name="Ovale 261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98335" y="3610878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7" name="Ovale 261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24804" y="380952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8" name="Ovale 261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080254" y="381083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19" name="Ovale 261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97637" y="379448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20" name="Ovale 261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89638" y="3823129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21" name="Ovale 262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866276" y="3692835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22" name="Ovale 262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66490" y="3794484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23" name="Ovale 262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987633" y="3744787"/>
              <a:ext cx="27167" cy="27167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24" name="Figura a mano libera 2623"/>
            <p:cNvSpPr/>
            <p:nvPr/>
          </p:nvSpPr>
          <p:spPr bwMode="auto">
            <a:xfrm rot="5400000" flipH="1" flipV="1">
              <a:off x="3690837" y="3893631"/>
              <a:ext cx="376299" cy="276039"/>
            </a:xfrm>
            <a:custGeom>
              <a:avLst/>
              <a:gdLst>
                <a:gd name="connsiteX0" fmla="*/ 1117600 w 1335314"/>
                <a:gd name="connsiteY0" fmla="*/ 0 h 1625600"/>
                <a:gd name="connsiteX1" fmla="*/ 0 w 1335314"/>
                <a:gd name="connsiteY1" fmla="*/ 1625600 h 1625600"/>
                <a:gd name="connsiteX2" fmla="*/ 1335314 w 1335314"/>
                <a:gd name="connsiteY2" fmla="*/ 14514 h 1625600"/>
                <a:gd name="connsiteX0" fmla="*/ 330296 w 548010"/>
                <a:gd name="connsiteY0" fmla="*/ 0 h 393492"/>
                <a:gd name="connsiteX1" fmla="*/ 0 w 548010"/>
                <a:gd name="connsiteY1" fmla="*/ 393492 h 393492"/>
                <a:gd name="connsiteX2" fmla="*/ 548010 w 548010"/>
                <a:gd name="connsiteY2" fmla="*/ 14514 h 393492"/>
                <a:gd name="connsiteX0" fmla="*/ 0 w 555421"/>
                <a:gd name="connsiteY0" fmla="*/ 0 h 335592"/>
                <a:gd name="connsiteX1" fmla="*/ 555421 w 555421"/>
                <a:gd name="connsiteY1" fmla="*/ 335592 h 335592"/>
                <a:gd name="connsiteX2" fmla="*/ 217714 w 555421"/>
                <a:gd name="connsiteY2" fmla="*/ 14514 h 33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55421" h="335592">
                  <a:moveTo>
                    <a:pt x="0" y="0"/>
                  </a:moveTo>
                  <a:lnTo>
                    <a:pt x="555421" y="335592"/>
                  </a:lnTo>
                  <a:lnTo>
                    <a:pt x="217714" y="14514"/>
                  </a:lnTo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3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625" name="Rettangolo 2624">
              <a:extLst>
                <a:ext uri="{FF2B5EF4-FFF2-40B4-BE49-F238E27FC236}">
                  <a16:creationId xmlns="" xmlns:a16="http://schemas.microsoft.com/office/drawing/2014/main" id="{F407BDE3-3F88-4575-9A8C-DB7FAED6891B}"/>
                </a:ext>
              </a:extLst>
            </p:cNvPr>
            <p:cNvSpPr/>
            <p:nvPr/>
          </p:nvSpPr>
          <p:spPr bwMode="auto">
            <a:xfrm>
              <a:off x="3537274" y="4119296"/>
              <a:ext cx="211347" cy="146837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42</a:t>
              </a:r>
            </a:p>
          </p:txBody>
        </p:sp>
        <p:sp>
          <p:nvSpPr>
            <p:cNvPr id="2626" name="Rettangolo 262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464069" y="1763335"/>
              <a:ext cx="1187263" cy="4057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100" b="1" dirty="0">
                  <a:solidFill>
                    <a:srgbClr val="000000"/>
                  </a:solidFill>
                  <a:latin typeface="Arial"/>
                </a:rPr>
                <a:t>TORREVECCHIA</a:t>
              </a:r>
            </a:p>
            <a:p>
              <a:pPr eaLnBrk="0" hangingPunct="0">
                <a:spcAft>
                  <a:spcPts val="200"/>
                </a:spcAft>
                <a:defRPr/>
              </a:pPr>
              <a:r>
                <a:rPr lang="it-IT" sz="900" dirty="0">
                  <a:solidFill>
                    <a:srgbClr val="000000"/>
                  </a:solidFill>
                  <a:latin typeface="Arial"/>
                </a:rPr>
                <a:t>Via Gasparri </a:t>
              </a:r>
            </a:p>
          </p:txBody>
        </p:sp>
        <p:grpSp>
          <p:nvGrpSpPr>
            <p:cNvPr id="2627" name="Gruppo 2626"/>
            <p:cNvGrpSpPr/>
            <p:nvPr/>
          </p:nvGrpSpPr>
          <p:grpSpPr>
            <a:xfrm>
              <a:off x="1084639" y="2278964"/>
              <a:ext cx="130434" cy="122078"/>
              <a:chOff x="1222971" y="1103055"/>
              <a:chExt cx="172844" cy="161771"/>
            </a:xfrm>
          </p:grpSpPr>
          <p:sp>
            <p:nvSpPr>
              <p:cNvPr id="2845" name="Ovale 284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313732" y="1126790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46" name="Ovale 284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359815" y="1174484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47" name="Ovale 284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271424" y="1145916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48" name="Ovale 284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320682" y="1203135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49" name="Ovale 284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320682" y="1167135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0" name="Ovale 284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284682" y="1183198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1" name="Ovale 285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274082" y="1221157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2" name="Ovale 285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350290" y="1133209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3" name="Ovale 285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243407" y="1183198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4" name="Ovale 285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271424" y="1103055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5" name="Ovale 285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359657" y="1228826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856" name="Ovale 285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222971" y="1129307"/>
                <a:ext cx="36000" cy="36000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</p:grpSp>
        <p:sp>
          <p:nvSpPr>
            <p:cNvPr id="2628" name="Figura a mano libera 2627"/>
            <p:cNvSpPr/>
            <p:nvPr/>
          </p:nvSpPr>
          <p:spPr bwMode="auto">
            <a:xfrm rot="16200000" flipV="1">
              <a:off x="1161503" y="1949977"/>
              <a:ext cx="371278" cy="273852"/>
            </a:xfrm>
            <a:custGeom>
              <a:avLst/>
              <a:gdLst>
                <a:gd name="connsiteX0" fmla="*/ 1117600 w 1335314"/>
                <a:gd name="connsiteY0" fmla="*/ 0 h 1625600"/>
                <a:gd name="connsiteX1" fmla="*/ 0 w 1335314"/>
                <a:gd name="connsiteY1" fmla="*/ 1625600 h 1625600"/>
                <a:gd name="connsiteX2" fmla="*/ 1335314 w 1335314"/>
                <a:gd name="connsiteY2" fmla="*/ 14514 h 1625600"/>
                <a:gd name="connsiteX0" fmla="*/ 330296 w 548010"/>
                <a:gd name="connsiteY0" fmla="*/ 0 h 393492"/>
                <a:gd name="connsiteX1" fmla="*/ 0 w 548010"/>
                <a:gd name="connsiteY1" fmla="*/ 393492 h 393492"/>
                <a:gd name="connsiteX2" fmla="*/ 548010 w 548010"/>
                <a:gd name="connsiteY2" fmla="*/ 14514 h 39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8010" h="393492">
                  <a:moveTo>
                    <a:pt x="330296" y="0"/>
                  </a:moveTo>
                  <a:lnTo>
                    <a:pt x="0" y="393492"/>
                  </a:lnTo>
                  <a:lnTo>
                    <a:pt x="548010" y="14514"/>
                  </a:lnTo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3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629" name="Rettangolo 2628">
              <a:extLst>
                <a:ext uri="{FF2B5EF4-FFF2-40B4-BE49-F238E27FC236}">
                  <a16:creationId xmlns="" xmlns:a16="http://schemas.microsoft.com/office/drawing/2014/main" id="{A24329F9-7EEB-445D-BA8F-58EE3366050D}"/>
                </a:ext>
              </a:extLst>
            </p:cNvPr>
            <p:cNvSpPr/>
            <p:nvPr/>
          </p:nvSpPr>
          <p:spPr bwMode="auto">
            <a:xfrm>
              <a:off x="2439984" y="2022236"/>
              <a:ext cx="211347" cy="146837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2</a:t>
              </a:r>
            </a:p>
          </p:txBody>
        </p:sp>
        <p:sp>
          <p:nvSpPr>
            <p:cNvPr id="2630" name="Ovale 262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397559" y="2944324"/>
              <a:ext cx="27167" cy="27166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31" name="Ovale 263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417164" y="2906770"/>
              <a:ext cx="27167" cy="27166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grpSp>
          <p:nvGrpSpPr>
            <p:cNvPr id="2632" name="Gruppo 2631"/>
            <p:cNvGrpSpPr/>
            <p:nvPr/>
          </p:nvGrpSpPr>
          <p:grpSpPr>
            <a:xfrm>
              <a:off x="3333453" y="2006600"/>
              <a:ext cx="1187263" cy="1216687"/>
              <a:chOff x="3333453" y="2006600"/>
              <a:chExt cx="1187263" cy="1216687"/>
            </a:xfrm>
          </p:grpSpPr>
          <p:sp>
            <p:nvSpPr>
              <p:cNvPr id="2794" name="Ovale 279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421667" y="3068777"/>
                <a:ext cx="27167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95" name="Ovale 279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3414459" y="3154502"/>
                <a:ext cx="27167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grpSp>
            <p:nvGrpSpPr>
              <p:cNvPr id="2796" name="Gruppo 2795"/>
              <p:cNvGrpSpPr/>
              <p:nvPr/>
            </p:nvGrpSpPr>
            <p:grpSpPr>
              <a:xfrm>
                <a:off x="3333453" y="2006600"/>
                <a:ext cx="1187263" cy="1216687"/>
                <a:chOff x="3333453" y="2006600"/>
                <a:chExt cx="1187263" cy="1216687"/>
              </a:xfrm>
            </p:grpSpPr>
            <p:sp>
              <p:nvSpPr>
                <p:cNvPr id="2797" name="Rettangolo 2796">
                  <a:extLst>
                    <a:ext uri="{FF2B5EF4-FFF2-40B4-BE49-F238E27FC236}">
                      <a16:creationId xmlns="" xmlns:a16="http://schemas.microsoft.com/office/drawing/2014/main" id="{CC8731E4-E6B6-467D-9B7B-35A7DBBE8DBF}"/>
                    </a:ext>
                  </a:extLst>
                </p:cNvPr>
                <p:cNvSpPr/>
                <p:nvPr/>
              </p:nvSpPr>
              <p:spPr bwMode="auto">
                <a:xfrm>
                  <a:off x="3333453" y="2006600"/>
                  <a:ext cx="1187263" cy="405739"/>
                </a:xfrm>
                <a:prstGeom prst="rect">
                  <a:avLst/>
                </a:prstGeom>
                <a:solidFill>
                  <a:schemeClr val="bg1"/>
                </a:solidFill>
                <a:ln w="952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18000" tIns="18000" rIns="18000" bIns="1800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eaLnBrk="0" hangingPunct="0">
                    <a:spcAft>
                      <a:spcPts val="200"/>
                    </a:spcAft>
                    <a:defRPr/>
                  </a:pPr>
                  <a:r>
                    <a:rPr lang="it-IT" sz="1100" b="1" dirty="0">
                      <a:solidFill>
                        <a:srgbClr val="000000"/>
                      </a:solidFill>
                      <a:latin typeface="Arial"/>
                    </a:rPr>
                    <a:t>TIBURTINO III </a:t>
                  </a:r>
                </a:p>
              </p:txBody>
            </p:sp>
            <p:sp>
              <p:nvSpPr>
                <p:cNvPr id="2798" name="Figura a mano libera 2797"/>
                <p:cNvSpPr/>
                <p:nvPr/>
              </p:nvSpPr>
              <p:spPr bwMode="auto">
                <a:xfrm>
                  <a:off x="3576334" y="2403953"/>
                  <a:ext cx="498278" cy="506033"/>
                </a:xfrm>
                <a:custGeom>
                  <a:avLst/>
                  <a:gdLst>
                    <a:gd name="connsiteX0" fmla="*/ 1117600 w 1335314"/>
                    <a:gd name="connsiteY0" fmla="*/ 0 h 1625600"/>
                    <a:gd name="connsiteX1" fmla="*/ 0 w 1335314"/>
                    <a:gd name="connsiteY1" fmla="*/ 1625600 h 1625600"/>
                    <a:gd name="connsiteX2" fmla="*/ 1335314 w 1335314"/>
                    <a:gd name="connsiteY2" fmla="*/ 14514 h 1625600"/>
                    <a:gd name="connsiteX0" fmla="*/ 517749 w 735463"/>
                    <a:gd name="connsiteY0" fmla="*/ 0 h 668323"/>
                    <a:gd name="connsiteX1" fmla="*/ 0 w 735463"/>
                    <a:gd name="connsiteY1" fmla="*/ 668323 h 668323"/>
                    <a:gd name="connsiteX2" fmla="*/ 735463 w 735463"/>
                    <a:gd name="connsiteY2" fmla="*/ 14514 h 668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35463" h="668323">
                      <a:moveTo>
                        <a:pt x="517749" y="0"/>
                      </a:moveTo>
                      <a:lnTo>
                        <a:pt x="0" y="668323"/>
                      </a:lnTo>
                      <a:lnTo>
                        <a:pt x="735463" y="14514"/>
                      </a:lnTo>
                    </a:path>
                  </a:pathLst>
                </a:custGeom>
                <a:solidFill>
                  <a:schemeClr val="bg1"/>
                </a:solidFill>
                <a:ln w="9525" algn="ctr">
                  <a:solidFill>
                    <a:schemeClr val="accent1"/>
                  </a:solidFill>
                  <a:miter lim="800000"/>
                  <a:headEnd/>
                  <a:tailEnd/>
                </a:ln>
                <a:effectLst/>
                <a:extLst/>
              </p:spPr>
              <p:txBody>
                <a:bodyPr vert="horz" wrap="none" lIns="92075" tIns="46038" rIns="92075" bIns="4603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it-IT" sz="36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Times New Roman" pitchFamily="18" charset="0"/>
                  </a:endParaRPr>
                </a:p>
              </p:txBody>
            </p:sp>
            <p:sp>
              <p:nvSpPr>
                <p:cNvPr id="2799" name="Ovale 279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70502" y="3012083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0" name="Ovale 279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13852" y="3032390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1" name="Ovale 280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58531" y="3150666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2" name="Ovale 280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01724" y="3186553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3" name="Ovale 280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93687" y="306727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4" name="Ovale 280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60219" y="3053006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5" name="Ovale 280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48629" y="310227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6" name="Ovale 280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709565" y="298833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7" name="Ovale 280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93905" y="2982820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8" name="Ovale 280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44948" y="298738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09" name="Ovale 280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35360" y="286797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0" name="Ovale 280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56918" y="2809426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1" name="Ovale 281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97279" y="285834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2" name="Ovale 281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05277" y="2938715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3" name="Ovale 281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54420" y="319612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4" name="Ovale 281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21224" y="281021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5" name="Ovale 281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27620" y="2913114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6" name="Ovale 281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36367" y="294584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7" name="Ovale 281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43632" y="286697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8" name="Ovale 281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488141" y="2893144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19" name="Ovale 281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88942" y="291577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0" name="Ovale 281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64336" y="3094590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1" name="Ovale 282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65841" y="2957239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2" name="Ovale 282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752044" y="3038604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3" name="Ovale 282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10436" y="294485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4" name="Ovale 282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82195" y="290158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5" name="Ovale 282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67847" y="3014017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6" name="Ovale 282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50863" y="294060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7" name="Ovale 282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44699" y="2985373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8" name="Ovale 282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06802" y="2989402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29" name="Ovale 282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56187" y="3016916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0" name="Ovale 282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745303" y="2936643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1" name="Ovale 283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62503" y="297841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2" name="Ovale 283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22991" y="290218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3" name="Ovale 283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749947" y="3126560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4" name="Ovale 283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69978" y="3112439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5" name="Ovale 283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88711" y="3042785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6" name="Ovale 283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07677" y="3073855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7" name="Ovale 283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47678" y="3145613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8" name="Ovale 283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38110" y="3050063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39" name="Ovale 283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30111" y="307870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40" name="Ovale 283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33101" y="3050379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41" name="Ovale 284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510156" y="311631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42" name="Ovale 284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15423" y="3112471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43" name="Ovale 284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3693011" y="2949258"/>
                  <a:ext cx="27167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844" name="Rettangolo 2843">
                  <a:extLst>
                    <a:ext uri="{FF2B5EF4-FFF2-40B4-BE49-F238E27FC236}">
                      <a16:creationId xmlns="" xmlns:a16="http://schemas.microsoft.com/office/drawing/2014/main" id="{FF96BC6D-8497-4E38-B7F5-02EC1C7D49C5}"/>
                    </a:ext>
                  </a:extLst>
                </p:cNvPr>
                <p:cNvSpPr/>
                <p:nvPr/>
              </p:nvSpPr>
              <p:spPr bwMode="auto">
                <a:xfrm>
                  <a:off x="4309368" y="2265501"/>
                  <a:ext cx="211347" cy="146837"/>
                </a:xfrm>
                <a:prstGeom prst="rect">
                  <a:avLst/>
                </a:prstGeom>
                <a:solidFill>
                  <a:schemeClr val="accent4"/>
                </a:solidFill>
                <a:ln w="9525" cap="flat" cmpd="sng" algn="ctr">
                  <a:solidFill>
                    <a:schemeClr val="accent4">
                      <a:lumMod val="7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18000" tIns="18000" rIns="18000" bIns="18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hangingPunct="0">
                    <a:spcAft>
                      <a:spcPts val="200"/>
                    </a:spcAft>
                  </a:pPr>
                  <a:r>
                    <a:rPr lang="it-IT" sz="900" b="1" i="1" dirty="0">
                      <a:solidFill>
                        <a:schemeClr val="bg1"/>
                      </a:solidFill>
                      <a:latin typeface="Arial"/>
                    </a:rPr>
                    <a:t>49</a:t>
                  </a:r>
                </a:p>
              </p:txBody>
            </p:sp>
          </p:grpSp>
        </p:grpSp>
        <p:sp>
          <p:nvSpPr>
            <p:cNvPr id="2633" name="Ovale 263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 rot="17636810">
              <a:off x="703345" y="3725073"/>
              <a:ext cx="27166" cy="27166"/>
            </a:xfrm>
            <a:prstGeom prst="ellipse">
              <a:avLst/>
            </a:prstGeom>
            <a:solidFill>
              <a:schemeClr val="accent2"/>
            </a:solidFill>
            <a:ln w="3175">
              <a:solidFill>
                <a:schemeClr val="accent2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34" name="Ovale 263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 rot="20584304">
              <a:off x="670350" y="3724876"/>
              <a:ext cx="27166" cy="27166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noAutofit/>
            </a:bodyPr>
            <a:lstStyle/>
            <a:p>
              <a:pPr algn="ctr" eaLnBrk="0" hangingPunct="0"/>
              <a:endParaRPr lang="it-IT" b="1" dirty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2635" name="Ovale 263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 rot="20584304">
              <a:off x="638788" y="3749525"/>
              <a:ext cx="27166" cy="27166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noAutofit/>
            </a:bodyPr>
            <a:lstStyle/>
            <a:p>
              <a:pPr algn="ctr" eaLnBrk="0" hangingPunct="0"/>
              <a:endParaRPr lang="it-IT" b="1" dirty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sp>
          <p:nvSpPr>
            <p:cNvPr id="2636" name="Ovale 263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 rot="17636810">
              <a:off x="712269" y="3770438"/>
              <a:ext cx="27166" cy="27166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noAutofit/>
            </a:bodyPr>
            <a:lstStyle/>
            <a:p>
              <a:pPr algn="ctr" eaLnBrk="0" hangingPunct="0"/>
              <a:endParaRPr lang="it-IT" b="1" dirty="0">
                <a:solidFill>
                  <a:prstClr val="white"/>
                </a:solidFill>
                <a:latin typeface="Arial" panose="020B0604020202020204" pitchFamily="34" charset="0"/>
                <a:ea typeface="MS PGothic" panose="020B0600070205080204" pitchFamily="34" charset="-128"/>
              </a:endParaRPr>
            </a:p>
          </p:txBody>
        </p:sp>
        <p:grpSp>
          <p:nvGrpSpPr>
            <p:cNvPr id="2637" name="Gruppo 2636"/>
            <p:cNvGrpSpPr/>
            <p:nvPr/>
          </p:nvGrpSpPr>
          <p:grpSpPr>
            <a:xfrm>
              <a:off x="555886" y="3326679"/>
              <a:ext cx="1730598" cy="553877"/>
              <a:chOff x="555886" y="3326679"/>
              <a:chExt cx="1730598" cy="553877"/>
            </a:xfrm>
          </p:grpSpPr>
          <p:sp>
            <p:nvSpPr>
              <p:cNvPr id="2767" name="Ovale 276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7636810">
                <a:off x="738341" y="375114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sp>
            <p:nvSpPr>
              <p:cNvPr id="2768" name="Ovale 276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7636810">
                <a:off x="696096" y="372731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 eaLnBrk="0" hangingPunct="0"/>
                <a:endParaRPr lang="it-IT" b="1" dirty="0">
                  <a:solidFill>
                    <a:prstClr val="white"/>
                  </a:solidFill>
                  <a:latin typeface="Arial" panose="020B0604020202020204" pitchFamily="34" charset="0"/>
                  <a:ea typeface="MS PGothic" panose="020B0600070205080204" pitchFamily="34" charset="-128"/>
                </a:endParaRPr>
              </a:p>
            </p:txBody>
          </p:sp>
          <p:grpSp>
            <p:nvGrpSpPr>
              <p:cNvPr id="2769" name="Gruppo 2768"/>
              <p:cNvGrpSpPr/>
              <p:nvPr/>
            </p:nvGrpSpPr>
            <p:grpSpPr>
              <a:xfrm>
                <a:off x="555886" y="3326679"/>
                <a:ext cx="1730598" cy="553877"/>
                <a:chOff x="555886" y="3326679"/>
                <a:chExt cx="1730598" cy="553877"/>
              </a:xfrm>
            </p:grpSpPr>
            <p:sp>
              <p:nvSpPr>
                <p:cNvPr id="2770" name="Ovale 276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20042" y="3806203"/>
                  <a:ext cx="27166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 eaLnBrk="0" hangingPunct="0"/>
                  <a:endParaRPr lang="it-IT" b="1" dirty="0">
                    <a:solidFill>
                      <a:prstClr val="whit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2771" name="Ovale 277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18198" y="3843862"/>
                  <a:ext cx="27166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 eaLnBrk="0" hangingPunct="0"/>
                  <a:endParaRPr lang="it-IT" b="1" dirty="0">
                    <a:solidFill>
                      <a:prstClr val="whit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sp>
              <p:nvSpPr>
                <p:cNvPr id="2772" name="Ovale 277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 rot="17636810">
                  <a:off x="740138" y="3790680"/>
                  <a:ext cx="27166" cy="27166"/>
                </a:xfrm>
                <a:prstGeom prst="ellipse">
                  <a:avLst/>
                </a:prstGeom>
                <a:solidFill>
                  <a:schemeClr val="accent4"/>
                </a:solidFill>
                <a:ln w="3175">
                  <a:solidFill>
                    <a:schemeClr val="accent4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noAutofit/>
                </a:bodyPr>
                <a:lstStyle/>
                <a:p>
                  <a:pPr algn="ctr" eaLnBrk="0" hangingPunct="0"/>
                  <a:endParaRPr lang="it-IT" b="1" dirty="0">
                    <a:solidFill>
                      <a:prstClr val="white"/>
                    </a:solidFill>
                    <a:latin typeface="Arial" panose="020B0604020202020204" pitchFamily="34" charset="0"/>
                    <a:ea typeface="MS PGothic" panose="020B0600070205080204" pitchFamily="34" charset="-128"/>
                  </a:endParaRPr>
                </a:p>
              </p:txBody>
            </p:sp>
            <p:grpSp>
              <p:nvGrpSpPr>
                <p:cNvPr id="2773" name="Gruppo 2772"/>
                <p:cNvGrpSpPr/>
                <p:nvPr/>
              </p:nvGrpSpPr>
              <p:grpSpPr>
                <a:xfrm>
                  <a:off x="555886" y="3326679"/>
                  <a:ext cx="1730598" cy="553877"/>
                  <a:chOff x="555886" y="3326679"/>
                  <a:chExt cx="1730598" cy="553877"/>
                </a:xfrm>
              </p:grpSpPr>
              <p:sp>
                <p:nvSpPr>
                  <p:cNvPr id="2774" name="Ovale 2773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54733" y="3777229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75" name="Ovale 2774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32778" y="3806512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76" name="Ovale 2775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24868" y="3780522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77" name="Ovale 2776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20584304">
                    <a:off x="603096" y="3829762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78" name="Ovale 2777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23110" y="3754497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79" name="Ovale 2778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65493" y="3822649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80" name="Ovale 2779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95214" y="3795176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81" name="Ovale 2780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95266" y="3824924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82" name="Ovale 2781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80885" y="3764365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83" name="Ovale 2782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82624" y="3853390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84" name="Ovale 2783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44305" y="3805968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sp>
                <p:nvSpPr>
                  <p:cNvPr id="2785" name="Ovale 2784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 rot="17636810">
                    <a:off x="638972" y="3836522"/>
                    <a:ext cx="27166" cy="27166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noAutofit/>
                  </a:bodyPr>
                  <a:lstStyle/>
                  <a:p>
                    <a:pPr algn="ctr" eaLnBrk="0" hangingPunct="0"/>
                    <a:endParaRPr lang="it-IT" b="1" dirty="0">
                      <a:solidFill>
                        <a:prstClr val="white"/>
                      </a:solidFill>
                      <a:latin typeface="Arial" panose="020B0604020202020204" pitchFamily="34" charset="0"/>
                      <a:ea typeface="MS PGothic" panose="020B0600070205080204" pitchFamily="34" charset="-128"/>
                    </a:endParaRPr>
                  </a:p>
                </p:txBody>
              </p:sp>
              <p:grpSp>
                <p:nvGrpSpPr>
                  <p:cNvPr id="2786" name="Gruppo 2785"/>
                  <p:cNvGrpSpPr/>
                  <p:nvPr/>
                </p:nvGrpSpPr>
                <p:grpSpPr>
                  <a:xfrm>
                    <a:off x="555886" y="3326679"/>
                    <a:ext cx="1730598" cy="509585"/>
                    <a:chOff x="555886" y="3326679"/>
                    <a:chExt cx="1730598" cy="509585"/>
                  </a:xfrm>
                </p:grpSpPr>
                <p:sp>
                  <p:nvSpPr>
                    <p:cNvPr id="2787" name="Ovale 2786">
                      <a:extLst>
                        <a:ext uri="{FF2B5EF4-FFF2-40B4-BE49-F238E27FC236}">
                          <a16:creationId xmlns="" xmlns:a16="http://schemas.microsoft.com/office/drawing/2014/main" id="{36858B03-B4D9-4C53-AF92-C3382A7321ED}"/>
                        </a:ext>
                      </a:extLst>
                    </p:cNvPr>
                    <p:cNvSpPr/>
                    <p:nvPr/>
                  </p:nvSpPr>
                  <p:spPr bwMode="auto">
                    <a:xfrm rot="20584304">
                      <a:off x="584645" y="3776027"/>
                      <a:ext cx="27166" cy="27166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 w="3175">
                      <a:solidFill>
                        <a:schemeClr val="accent4">
                          <a:lumMod val="75000"/>
                        </a:schemeClr>
                      </a:solidFill>
                    </a:ln>
                    <a:effectLst/>
                    <a:extLst/>
                  </p:spPr>
                  <p:txBody>
                    <a:bodyPr wrap="square" lIns="0" tIns="0" rIns="0" bIns="0" rtlCol="0" anchor="ctr">
                      <a:noAutofit/>
                    </a:bodyPr>
                    <a:lstStyle/>
                    <a:p>
                      <a:pPr algn="ctr" eaLnBrk="0" hangingPunct="0"/>
                      <a:endParaRPr lang="it-IT" b="1" dirty="0">
                        <a:solidFill>
                          <a:prstClr val="white"/>
                        </a:solidFill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p:txBody>
                </p:sp>
                <p:sp>
                  <p:nvSpPr>
                    <p:cNvPr id="2788" name="Ovale 2787">
                      <a:extLst>
                        <a:ext uri="{FF2B5EF4-FFF2-40B4-BE49-F238E27FC236}">
                          <a16:creationId xmlns="" xmlns:a16="http://schemas.microsoft.com/office/drawing/2014/main" id="{36858B03-B4D9-4C53-AF92-C3382A7321ED}"/>
                        </a:ext>
                      </a:extLst>
                    </p:cNvPr>
                    <p:cNvSpPr/>
                    <p:nvPr/>
                  </p:nvSpPr>
                  <p:spPr bwMode="auto">
                    <a:xfrm rot="20584304">
                      <a:off x="602408" y="3800029"/>
                      <a:ext cx="27166" cy="27166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 w="3175">
                      <a:solidFill>
                        <a:schemeClr val="accent4">
                          <a:lumMod val="75000"/>
                        </a:schemeClr>
                      </a:solidFill>
                    </a:ln>
                    <a:effectLst/>
                    <a:extLst/>
                  </p:spPr>
                  <p:txBody>
                    <a:bodyPr wrap="square" lIns="0" tIns="0" rIns="0" bIns="0" rtlCol="0" anchor="ctr">
                      <a:noAutofit/>
                    </a:bodyPr>
                    <a:lstStyle/>
                    <a:p>
                      <a:pPr algn="ctr" eaLnBrk="0" hangingPunct="0"/>
                      <a:endParaRPr lang="it-IT" b="1" dirty="0">
                        <a:solidFill>
                          <a:prstClr val="white"/>
                        </a:solidFill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p:txBody>
                </p:sp>
                <p:sp>
                  <p:nvSpPr>
                    <p:cNvPr id="2789" name="Ovale 2788">
                      <a:extLst>
                        <a:ext uri="{FF2B5EF4-FFF2-40B4-BE49-F238E27FC236}">
                          <a16:creationId xmlns="" xmlns:a16="http://schemas.microsoft.com/office/drawing/2014/main" id="{36858B03-B4D9-4C53-AF92-C3382A7321ED}"/>
                        </a:ext>
                      </a:extLst>
                    </p:cNvPr>
                    <p:cNvSpPr/>
                    <p:nvPr/>
                  </p:nvSpPr>
                  <p:spPr bwMode="auto">
                    <a:xfrm rot="20584304">
                      <a:off x="572610" y="3809098"/>
                      <a:ext cx="27166" cy="27166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 w="3175">
                      <a:solidFill>
                        <a:schemeClr val="accent4">
                          <a:lumMod val="75000"/>
                        </a:schemeClr>
                      </a:solidFill>
                    </a:ln>
                    <a:effectLst/>
                    <a:extLst/>
                  </p:spPr>
                  <p:txBody>
                    <a:bodyPr wrap="square" lIns="0" tIns="0" rIns="0" bIns="0" rtlCol="0" anchor="ctr">
                      <a:noAutofit/>
                    </a:bodyPr>
                    <a:lstStyle/>
                    <a:p>
                      <a:pPr algn="ctr" eaLnBrk="0" hangingPunct="0"/>
                      <a:endParaRPr lang="it-IT" b="1" dirty="0">
                        <a:solidFill>
                          <a:prstClr val="white"/>
                        </a:solidFill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p:txBody>
                </p:sp>
                <p:sp>
                  <p:nvSpPr>
                    <p:cNvPr id="2790" name="Ovale 2789">
                      <a:extLst>
                        <a:ext uri="{FF2B5EF4-FFF2-40B4-BE49-F238E27FC236}">
                          <a16:creationId xmlns="" xmlns:a16="http://schemas.microsoft.com/office/drawing/2014/main" id="{36858B03-B4D9-4C53-AF92-C3382A7321ED}"/>
                        </a:ext>
                      </a:extLst>
                    </p:cNvPr>
                    <p:cNvSpPr/>
                    <p:nvPr/>
                  </p:nvSpPr>
                  <p:spPr bwMode="auto">
                    <a:xfrm rot="20584304">
                      <a:off x="588291" y="3737538"/>
                      <a:ext cx="27166" cy="27166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 w="3175">
                      <a:solidFill>
                        <a:schemeClr val="accent4">
                          <a:lumMod val="75000"/>
                        </a:schemeClr>
                      </a:solidFill>
                    </a:ln>
                    <a:effectLst/>
                    <a:extLst/>
                  </p:spPr>
                  <p:txBody>
                    <a:bodyPr wrap="square" lIns="0" tIns="0" rIns="0" bIns="0" rtlCol="0" anchor="ctr">
                      <a:noAutofit/>
                    </a:bodyPr>
                    <a:lstStyle/>
                    <a:p>
                      <a:pPr algn="ctr" eaLnBrk="0" hangingPunct="0"/>
                      <a:endParaRPr lang="it-IT" b="1" dirty="0">
                        <a:solidFill>
                          <a:prstClr val="white"/>
                        </a:solidFill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p:txBody>
                </p:sp>
                <p:sp>
                  <p:nvSpPr>
                    <p:cNvPr id="2791" name="Ovale 2790">
                      <a:extLst>
                        <a:ext uri="{FF2B5EF4-FFF2-40B4-BE49-F238E27FC236}">
                          <a16:creationId xmlns="" xmlns:a16="http://schemas.microsoft.com/office/drawing/2014/main" id="{36858B03-B4D9-4C53-AF92-C3382A7321ED}"/>
                        </a:ext>
                      </a:extLst>
                    </p:cNvPr>
                    <p:cNvSpPr/>
                    <p:nvPr/>
                  </p:nvSpPr>
                  <p:spPr bwMode="auto">
                    <a:xfrm rot="20584304">
                      <a:off x="555886" y="3745190"/>
                      <a:ext cx="27166" cy="27166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 w="3175">
                      <a:solidFill>
                        <a:schemeClr val="accent4">
                          <a:lumMod val="75000"/>
                        </a:schemeClr>
                      </a:solidFill>
                    </a:ln>
                    <a:effectLst/>
                    <a:extLst/>
                  </p:spPr>
                  <p:txBody>
                    <a:bodyPr wrap="square" lIns="0" tIns="0" rIns="0" bIns="0" rtlCol="0" anchor="ctr">
                      <a:noAutofit/>
                    </a:bodyPr>
                    <a:lstStyle/>
                    <a:p>
                      <a:pPr algn="ctr" eaLnBrk="0" hangingPunct="0"/>
                      <a:endParaRPr lang="it-IT" b="1" dirty="0">
                        <a:solidFill>
                          <a:prstClr val="white"/>
                        </a:solidFill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p:txBody>
                </p:sp>
                <p:sp>
                  <p:nvSpPr>
                    <p:cNvPr id="2792" name="Ovale 2791">
                      <a:extLst>
                        <a:ext uri="{FF2B5EF4-FFF2-40B4-BE49-F238E27FC236}">
                          <a16:creationId xmlns="" xmlns:a16="http://schemas.microsoft.com/office/drawing/2014/main" id="{36858B03-B4D9-4C53-AF92-C3382A7321ED}"/>
                        </a:ext>
                      </a:extLst>
                    </p:cNvPr>
                    <p:cNvSpPr/>
                    <p:nvPr/>
                  </p:nvSpPr>
                  <p:spPr bwMode="auto">
                    <a:xfrm rot="20584304">
                      <a:off x="618304" y="3714423"/>
                      <a:ext cx="27166" cy="27166"/>
                    </a:xfrm>
                    <a:prstGeom prst="ellipse">
                      <a:avLst/>
                    </a:prstGeom>
                    <a:solidFill>
                      <a:schemeClr val="accent4"/>
                    </a:solidFill>
                    <a:ln w="3175">
                      <a:solidFill>
                        <a:schemeClr val="accent4">
                          <a:lumMod val="75000"/>
                        </a:schemeClr>
                      </a:solidFill>
                    </a:ln>
                    <a:effectLst/>
                    <a:extLst/>
                  </p:spPr>
                  <p:txBody>
                    <a:bodyPr wrap="square" lIns="0" tIns="0" rIns="0" bIns="0" rtlCol="0" anchor="ctr">
                      <a:noAutofit/>
                    </a:bodyPr>
                    <a:lstStyle/>
                    <a:p>
                      <a:pPr algn="ctr" eaLnBrk="0" hangingPunct="0"/>
                      <a:endParaRPr lang="it-IT" b="1" dirty="0">
                        <a:solidFill>
                          <a:prstClr val="white"/>
                        </a:solidFill>
                        <a:latin typeface="Arial" panose="020B0604020202020204" pitchFamily="34" charset="0"/>
                        <a:ea typeface="MS PGothic" panose="020B0600070205080204" pitchFamily="34" charset="-128"/>
                      </a:endParaRPr>
                    </a:p>
                  </p:txBody>
                </p:sp>
                <p:sp>
                  <p:nvSpPr>
                    <p:cNvPr id="2793" name="Rettangolo 2792">
                      <a:extLst>
                        <a:ext uri="{FF2B5EF4-FFF2-40B4-BE49-F238E27FC236}">
                          <a16:creationId xmlns="" xmlns:a16="http://schemas.microsoft.com/office/drawing/2014/main" id="{0D7085B0-DA38-4838-9906-895F5513384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075137" y="3326679"/>
                      <a:ext cx="211347" cy="130667"/>
                    </a:xfrm>
                    <a:prstGeom prst="rect">
                      <a:avLst/>
                    </a:prstGeom>
                    <a:solidFill>
                      <a:schemeClr val="accent4"/>
                    </a:solidFill>
                    <a:ln w="9525" cap="flat" cmpd="sng" algn="ctr">
                      <a:solidFill>
                        <a:schemeClr val="accent4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18000" tIns="18000" rIns="18000" bIns="1800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eaLnBrk="0" hangingPunct="0">
                        <a:spcAft>
                          <a:spcPts val="200"/>
                        </a:spcAft>
                        <a:defRPr/>
                      </a:pPr>
                      <a:r>
                        <a:rPr lang="it-IT" sz="900" b="1" i="1" dirty="0">
                          <a:solidFill>
                            <a:schemeClr val="bg1"/>
                          </a:solidFill>
                          <a:latin typeface="Arial"/>
                        </a:rPr>
                        <a:t>25</a:t>
                      </a:r>
                    </a:p>
                  </p:txBody>
                </p:sp>
              </p:grpSp>
            </p:grpSp>
          </p:grpSp>
        </p:grpSp>
        <p:sp>
          <p:nvSpPr>
            <p:cNvPr id="2638" name="Ovale 2637">
              <a:extLst>
                <a:ext uri="{FF2B5EF4-FFF2-40B4-BE49-F238E27FC236}">
                  <a16:creationId xmlns="" xmlns:a16="http://schemas.microsoft.com/office/drawing/2014/main" id="{CF9F53DB-5A3B-4442-88FF-49E5F159B4C1}"/>
                </a:ext>
              </a:extLst>
            </p:cNvPr>
            <p:cNvSpPr/>
            <p:nvPr/>
          </p:nvSpPr>
          <p:spPr bwMode="auto">
            <a:xfrm>
              <a:off x="5417700" y="1285136"/>
              <a:ext cx="71030" cy="71030"/>
            </a:xfrm>
            <a:prstGeom prst="ellipse">
              <a:avLst/>
            </a:prstGeom>
            <a:solidFill>
              <a:schemeClr val="accent4"/>
            </a:solidFill>
            <a:ln w="3175">
              <a:solidFill>
                <a:schemeClr val="accent4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639" name="CasellaDiTesto 2638">
              <a:extLst>
                <a:ext uri="{FF2B5EF4-FFF2-40B4-BE49-F238E27FC236}">
                  <a16:creationId xmlns="" xmlns:a16="http://schemas.microsoft.com/office/drawing/2014/main" id="{C8EFEA20-F388-425F-8EEA-495B4C7024FD}"/>
                </a:ext>
              </a:extLst>
            </p:cNvPr>
            <p:cNvSpPr txBox="1"/>
            <p:nvPr/>
          </p:nvSpPr>
          <p:spPr>
            <a:xfrm>
              <a:off x="5594555" y="1243707"/>
              <a:ext cx="615553" cy="15388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2020 </a:t>
              </a:r>
              <a:r>
                <a:rPr kumimoji="0" lang="it-IT" sz="10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(316)</a:t>
              </a:r>
              <a:endPara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grpSp>
          <p:nvGrpSpPr>
            <p:cNvPr id="2640" name="Gruppo 2639"/>
            <p:cNvGrpSpPr/>
            <p:nvPr/>
          </p:nvGrpSpPr>
          <p:grpSpPr>
            <a:xfrm>
              <a:off x="639450" y="969776"/>
              <a:ext cx="1915755" cy="568887"/>
              <a:chOff x="639450" y="969776"/>
              <a:chExt cx="1915755" cy="568887"/>
            </a:xfrm>
          </p:grpSpPr>
          <p:sp>
            <p:nvSpPr>
              <p:cNvPr id="2641" name="Rettangolo 2640">
                <a:extLst>
                  <a:ext uri="{FF2B5EF4-FFF2-40B4-BE49-F238E27FC236}">
                    <a16:creationId xmlns="" xmlns:a16="http://schemas.microsoft.com/office/drawing/2014/main" id="{CC8731E4-E6B6-467D-9B7B-35A7DBBE8DBF}"/>
                  </a:ext>
                </a:extLst>
              </p:cNvPr>
              <p:cNvSpPr/>
              <p:nvPr/>
            </p:nvSpPr>
            <p:spPr bwMode="auto">
              <a:xfrm>
                <a:off x="1367942" y="1132924"/>
                <a:ext cx="1187263" cy="40573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1100" b="1" dirty="0">
                    <a:solidFill>
                      <a:srgbClr val="000000"/>
                    </a:solidFill>
                    <a:latin typeface="Arial"/>
                  </a:rPr>
                  <a:t>CESANO</a:t>
                </a:r>
              </a:p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900" dirty="0" smtClean="0">
                    <a:solidFill>
                      <a:srgbClr val="000000"/>
                    </a:solidFill>
                    <a:latin typeface="Arial"/>
                  </a:rPr>
                  <a:t>M1-M2-M3-M4</a:t>
                </a:r>
                <a:endParaRPr lang="it-IT" sz="9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642" name="Ovale 264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40919" y="113567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3" name="Ovale 264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5694" y="117166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4" name="Ovale 264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61613" y="104997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5" name="Ovale 264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79687" y="119093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6" name="Ovale 264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46164" y="116612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7" name="Ovale 264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18997" y="117824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8" name="Ovale 264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21781" y="114750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49" name="Ovale 264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68507" y="114052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0" name="Ovale 264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77269" y="112111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1" name="Ovale 265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08992" y="112854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2" name="Ovale 265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86241" y="112209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3" name="Ovale 265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06649" y="113187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4" name="Ovale 265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86107" y="114838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5" name="Ovale 265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70337" y="107025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6" name="Ovale 265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98543" y="115948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7" name="Ovale 265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66099" y="122019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8" name="Ovale 265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45055" y="119839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59" name="Ovale 265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17089" y="117881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0" name="Ovale 265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44538" y="102104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1" name="Ovale 266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32498" y="115811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2" name="Ovale 266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72760" y="119309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3" name="Ovale 266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0450" y="104138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4" name="Ovale 266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05225" y="107738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5" name="Ovale 266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38523" y="105582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6" name="Ovale 266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5694" y="109900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7" name="Ovale 266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5694" y="107183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8" name="Ovale 266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48528" y="108395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69" name="Ovale 266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93039" y="109390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0" name="Ovale 266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98037" y="104623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1" name="Ovale 267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17381" y="108395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2" name="Ovale 267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83454" y="103226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3" name="Ovale 267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57298" y="107592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4" name="Ovale 267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99868" y="107906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5" name="Ovale 267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44651" y="99363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6" name="Ovale 267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39450" y="114647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7" name="Ovale 267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62543" y="110637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8" name="Ovale 267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91359" y="116861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79" name="Ovale 267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27377" y="114713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0" name="Ovale 267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84885" y="108076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1" name="Ovale 268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15116" y="111849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2" name="Ovale 268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02648" y="101847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3" name="Ovale 268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84885" y="114560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4" name="Ovale 268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72297" y="118429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5" name="Ovale 268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21175" y="114165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6" name="Ovale 268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19562" y="114061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7" name="Ovale 268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83811" y="111972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8" name="Ovale 268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43433" y="111328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89" name="Ovale 268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91289" y="113420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0" name="Ovale 268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24807" y="117106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1" name="Ovale 269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08527" y="118318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2" name="Ovale 269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16149" y="110274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3" name="Ovale 269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08797" y="102889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4" name="Ovale 269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41994" y="119291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5" name="Ovale 269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12395" y="99649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6" name="Ovale 269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12196" y="102709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7" name="Ovale 269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04129" y="121128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8" name="Ovale 269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63049" y="117576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699" name="Ovale 269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4599" y="123290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0" name="Ovale 269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4599" y="120574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1" name="Ovale 270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47432" y="121786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2" name="Ovale 270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39433" y="124650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3" name="Ovale 270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25426" y="101128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4" name="Ovale 270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16285" y="121786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5" name="Ovale 270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59054" y="113546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6" name="Ovale 270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97698" y="124394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7" name="Ovale 270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89424" y="98829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8" name="Ovale 270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67109" y="996280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09" name="Ovale 270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39433" y="127344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0" name="Ovale 270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51894" y="113001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1" name="Ovale 271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49417" y="107402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2" name="Ovale 271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91023" y="120693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3" name="Ovale 271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53561" y="116037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4" name="Ovale 271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84925" y="107222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5" name="Ovale 271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62893" y="122845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6" name="Ovale 271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03563" y="116573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7" name="Ovale 271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74318" y="111520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8" name="Ovale 271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81326" y="109611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19" name="Ovale 271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98201" y="105211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0" name="Ovale 271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84322" y="114334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1" name="Ovale 272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76323" y="117198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2" name="Ovale 272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64718" y="100492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3" name="Ovale 272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53175" y="114334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4" name="Ovale 272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73305" y="123188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5" name="Ovale 272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51566" y="108719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6" name="Ovale 272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38837" y="103449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7" name="Ovale 272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40649" y="117763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8" name="Ovale 272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50011" y="115921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29" name="Ovale 272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36156" y="111060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0" name="Ovale 272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38612" y="1158488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1" name="Ovale 273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17569" y="113668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2" name="Ovale 273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99908" y="103487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3" name="Ovale 273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04958" y="107522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4" name="Ovale 273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88170" y="96977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5" name="Ovale 273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62018" y="106420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6" name="Ovale 273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71401" y="97690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7" name="Ovale 273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43071" y="109648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8" name="Ovale 273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60743" y="100625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39" name="Ovale 273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31512" y="102714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0" name="Ovale 273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65750" y="116464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1" name="Ovale 274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28497" y="105465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2" name="Ovale 274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30041" y="106043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3" name="Ovale 274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96625" y="109889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4" name="Ovale 274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35778" y="111081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5" name="Ovale 274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22775" y="984064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6" name="Ovale 274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884022" y="101090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7" name="Ovale 274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1015577" y="119394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8" name="Ovale 274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70210" y="98554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49" name="Ovale 274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58282" y="104478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0" name="Ovale 274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81210" y="1030295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1" name="Ovale 275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80215" y="101367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2" name="Ovale 275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72216" y="104232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3" name="Ovale 275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651105" y="110663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4" name="Ovale 275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49068" y="101367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5" name="Ovale 2754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748907" y="98686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6" name="Ovale 275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930481" y="1039756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7" name="Ovale 2756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1009481" y="109899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8" name="Ovale 2757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807126" y="105177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59" name="Ovale 2758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794969" y="99832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60" name="Ovale 2759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821983" y="1007052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61" name="Ovale 2760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819884" y="976281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62" name="Ovale 2761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692464" y="1005183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63" name="Ovale 2762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1063980" y="1197547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64" name="Ovale 2763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 rot="1598386">
                <a:off x="762434" y="1094339"/>
                <a:ext cx="27166" cy="27166"/>
              </a:xfrm>
              <a:prstGeom prst="ellipse">
                <a:avLst/>
              </a:prstGeom>
              <a:solidFill>
                <a:schemeClr val="accent4"/>
              </a:solidFill>
              <a:ln w="3175">
                <a:solidFill>
                  <a:schemeClr val="accent4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2765" name="Figura a mano libera 2764"/>
              <p:cNvSpPr/>
              <p:nvPr/>
            </p:nvSpPr>
            <p:spPr bwMode="auto">
              <a:xfrm rot="5400000">
                <a:off x="1102008" y="1183394"/>
                <a:ext cx="328416" cy="235752"/>
              </a:xfrm>
              <a:custGeom>
                <a:avLst/>
                <a:gdLst>
                  <a:gd name="connsiteX0" fmla="*/ 1117600 w 1335314"/>
                  <a:gd name="connsiteY0" fmla="*/ 0 h 1625600"/>
                  <a:gd name="connsiteX1" fmla="*/ 0 w 1335314"/>
                  <a:gd name="connsiteY1" fmla="*/ 1625600 h 1625600"/>
                  <a:gd name="connsiteX2" fmla="*/ 1335314 w 1335314"/>
                  <a:gd name="connsiteY2" fmla="*/ 14514 h 1625600"/>
                  <a:gd name="connsiteX0" fmla="*/ 330296 w 548010"/>
                  <a:gd name="connsiteY0" fmla="*/ 0 h 393492"/>
                  <a:gd name="connsiteX1" fmla="*/ 0 w 548010"/>
                  <a:gd name="connsiteY1" fmla="*/ 393492 h 393492"/>
                  <a:gd name="connsiteX2" fmla="*/ 548010 w 548010"/>
                  <a:gd name="connsiteY2" fmla="*/ 14514 h 393492"/>
                  <a:gd name="connsiteX0" fmla="*/ 267031 w 484745"/>
                  <a:gd name="connsiteY0" fmla="*/ 0 h 338747"/>
                  <a:gd name="connsiteX1" fmla="*/ 0 w 484745"/>
                  <a:gd name="connsiteY1" fmla="*/ 338747 h 338747"/>
                  <a:gd name="connsiteX2" fmla="*/ 484745 w 484745"/>
                  <a:gd name="connsiteY2" fmla="*/ 14514 h 3387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4745" h="338747">
                    <a:moveTo>
                      <a:pt x="267031" y="0"/>
                    </a:moveTo>
                    <a:lnTo>
                      <a:pt x="0" y="338747"/>
                    </a:lnTo>
                    <a:lnTo>
                      <a:pt x="484745" y="14514"/>
                    </a:ln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92075" tIns="46038" rIns="92075" bIns="4603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3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  <p:sp>
            <p:nvSpPr>
              <p:cNvPr id="2766" name="Rettangolo 2765">
                <a:extLst>
                  <a:ext uri="{FF2B5EF4-FFF2-40B4-BE49-F238E27FC236}">
                    <a16:creationId xmlns="" xmlns:a16="http://schemas.microsoft.com/office/drawing/2014/main" id="{40700A62-377C-4A74-AAF1-0022B16A4BDB}"/>
                  </a:ext>
                </a:extLst>
              </p:cNvPr>
              <p:cNvSpPr/>
              <p:nvPr/>
            </p:nvSpPr>
            <p:spPr bwMode="auto">
              <a:xfrm>
                <a:off x="2343857" y="1391825"/>
                <a:ext cx="211347" cy="146837"/>
              </a:xfrm>
              <a:prstGeom prst="rect">
                <a:avLst/>
              </a:prstGeom>
              <a:solidFill>
                <a:schemeClr val="accent4"/>
              </a:solidFill>
              <a:ln w="9525" cap="flat" cmpd="sng" algn="ctr">
                <a:solidFill>
                  <a:schemeClr val="accent4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8000" tIns="18000" rIns="18000" bIns="1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Aft>
                    <a:spcPts val="200"/>
                  </a:spcAft>
                </a:pPr>
                <a:r>
                  <a:rPr lang="it-IT" sz="900" b="1" i="1" dirty="0">
                    <a:solidFill>
                      <a:schemeClr val="bg1"/>
                    </a:solidFill>
                    <a:latin typeface="Arial"/>
                  </a:rPr>
                  <a:t>118</a:t>
                </a:r>
              </a:p>
            </p:txBody>
          </p:sp>
        </p:grpSp>
      </p:grpSp>
      <p:grpSp>
        <p:nvGrpSpPr>
          <p:cNvPr id="2857" name="Gruppo 2856"/>
          <p:cNvGrpSpPr/>
          <p:nvPr/>
        </p:nvGrpSpPr>
        <p:grpSpPr>
          <a:xfrm>
            <a:off x="324429" y="1434851"/>
            <a:ext cx="6078434" cy="4415968"/>
            <a:chOff x="324429" y="1434851"/>
            <a:chExt cx="6078434" cy="4415968"/>
          </a:xfrm>
        </p:grpSpPr>
        <p:sp>
          <p:nvSpPr>
            <p:cNvPr id="2858" name="Rettangolo 285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215600" y="2777011"/>
              <a:ext cx="1187263" cy="4057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100" b="1" dirty="0">
                  <a:solidFill>
                    <a:srgbClr val="000000"/>
                  </a:solidFill>
                  <a:latin typeface="Arial"/>
                </a:rPr>
                <a:t>Ponte di Nona</a:t>
              </a:r>
            </a:p>
            <a:p>
              <a:pPr eaLnBrk="0" hangingPunct="0">
                <a:spcAft>
                  <a:spcPts val="200"/>
                </a:spcAft>
                <a:defRPr/>
              </a:pPr>
              <a:r>
                <a:rPr lang="it-IT" sz="900" dirty="0" smtClean="0">
                  <a:solidFill>
                    <a:srgbClr val="000000"/>
                  </a:solidFill>
                  <a:latin typeface="Arial"/>
                </a:rPr>
                <a:t>Comparto </a:t>
              </a:r>
              <a:r>
                <a:rPr lang="it-IT" sz="900" dirty="0">
                  <a:solidFill>
                    <a:srgbClr val="000000"/>
                  </a:solidFill>
                  <a:latin typeface="Arial"/>
                </a:rPr>
                <a:t>19</a:t>
              </a:r>
            </a:p>
          </p:txBody>
        </p:sp>
        <p:sp>
          <p:nvSpPr>
            <p:cNvPr id="2859" name="Ovale 285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35498" y="3297987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0" name="Ovale 285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020598" y="3306972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1" name="Ovale 286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22788" y="3232827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2" name="Ovale 286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59960" y="3276006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3" name="Ovale 286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82958" y="3251448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4" name="Ovale 286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893462" y="3325814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5" name="Ovale 286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004164" y="3283748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6" name="Ovale 286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065691" y="3292064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7" name="Ovale 286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896839" y="3237620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8" name="Ovale 286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879473" y="3198139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69" name="Ovale 286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78727" y="3306008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0" name="Ovale 286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033541" y="3282593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1" name="Ovale 287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897967" y="3290243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2" name="Ovale 287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28817" y="3334301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3" name="Ovale 287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056224" y="3344127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4" name="Figura a mano libera 2873"/>
            <p:cNvSpPr/>
            <p:nvPr/>
          </p:nvSpPr>
          <p:spPr bwMode="auto">
            <a:xfrm rot="16200000" flipV="1">
              <a:off x="4903857" y="2943589"/>
              <a:ext cx="371278" cy="273852"/>
            </a:xfrm>
            <a:custGeom>
              <a:avLst/>
              <a:gdLst>
                <a:gd name="connsiteX0" fmla="*/ 1117600 w 1335314"/>
                <a:gd name="connsiteY0" fmla="*/ 0 h 1625600"/>
                <a:gd name="connsiteX1" fmla="*/ 0 w 1335314"/>
                <a:gd name="connsiteY1" fmla="*/ 1625600 h 1625600"/>
                <a:gd name="connsiteX2" fmla="*/ 1335314 w 1335314"/>
                <a:gd name="connsiteY2" fmla="*/ 14514 h 1625600"/>
                <a:gd name="connsiteX0" fmla="*/ 330296 w 548010"/>
                <a:gd name="connsiteY0" fmla="*/ 0 h 393492"/>
                <a:gd name="connsiteX1" fmla="*/ 0 w 548010"/>
                <a:gd name="connsiteY1" fmla="*/ 393492 h 393492"/>
                <a:gd name="connsiteX2" fmla="*/ 548010 w 548010"/>
                <a:gd name="connsiteY2" fmla="*/ 14514 h 39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8010" h="393492">
                  <a:moveTo>
                    <a:pt x="330296" y="0"/>
                  </a:moveTo>
                  <a:lnTo>
                    <a:pt x="0" y="393492"/>
                  </a:lnTo>
                  <a:lnTo>
                    <a:pt x="548010" y="14514"/>
                  </a:lnTo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3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875" name="Rettangolo 2874">
              <a:extLst>
                <a:ext uri="{FF2B5EF4-FFF2-40B4-BE49-F238E27FC236}">
                  <a16:creationId xmlns="" xmlns:a16="http://schemas.microsoft.com/office/drawing/2014/main" id="{D7D7B35D-FF31-4E5D-9996-34C533975D7A}"/>
                </a:ext>
              </a:extLst>
            </p:cNvPr>
            <p:cNvSpPr/>
            <p:nvPr/>
          </p:nvSpPr>
          <p:spPr bwMode="auto">
            <a:xfrm>
              <a:off x="6191515" y="3035912"/>
              <a:ext cx="211347" cy="146837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3</a:t>
              </a:r>
            </a:p>
          </p:txBody>
        </p:sp>
        <p:sp>
          <p:nvSpPr>
            <p:cNvPr id="2876" name="Rettangolo 287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512853" y="3646483"/>
              <a:ext cx="1187263" cy="4057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100" b="1" dirty="0">
                  <a:solidFill>
                    <a:srgbClr val="000000"/>
                  </a:solidFill>
                  <a:latin typeface="Arial"/>
                </a:rPr>
                <a:t>Ponte di Nona</a:t>
              </a:r>
            </a:p>
            <a:p>
              <a:pPr eaLnBrk="0" hangingPunct="0">
                <a:spcAft>
                  <a:spcPts val="200"/>
                </a:spcAft>
                <a:defRPr/>
              </a:pPr>
              <a:r>
                <a:rPr lang="it-IT" sz="900" dirty="0" smtClean="0">
                  <a:solidFill>
                    <a:srgbClr val="000000"/>
                  </a:solidFill>
                  <a:latin typeface="Arial"/>
                </a:rPr>
                <a:t>Comparto </a:t>
              </a:r>
              <a:r>
                <a:rPr lang="it-IT" sz="900" dirty="0">
                  <a:solidFill>
                    <a:srgbClr val="000000"/>
                  </a:solidFill>
                  <a:latin typeface="Arial"/>
                </a:rPr>
                <a:t>15-17</a:t>
              </a:r>
            </a:p>
          </p:txBody>
        </p:sp>
        <p:sp>
          <p:nvSpPr>
            <p:cNvPr id="2877" name="Ovale 287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5008709" y="3349726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8" name="Ovale 287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891047" y="3360225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79" name="Ovale 287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09401" y="3393621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0" name="Ovale 287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872995" y="3395160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1" name="Ovale 288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790421" y="3434378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2" name="Ovale 288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67960" y="3356851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3" name="Ovale 288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4950018" y="3389205"/>
              <a:ext cx="27166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4" name="Figura a mano libera 2883"/>
            <p:cNvSpPr/>
            <p:nvPr/>
          </p:nvSpPr>
          <p:spPr bwMode="auto">
            <a:xfrm flipV="1">
              <a:off x="5025521" y="3469149"/>
              <a:ext cx="371278" cy="191626"/>
            </a:xfrm>
            <a:custGeom>
              <a:avLst/>
              <a:gdLst>
                <a:gd name="connsiteX0" fmla="*/ 1117600 w 1335314"/>
                <a:gd name="connsiteY0" fmla="*/ 0 h 1625600"/>
                <a:gd name="connsiteX1" fmla="*/ 0 w 1335314"/>
                <a:gd name="connsiteY1" fmla="*/ 1625600 h 1625600"/>
                <a:gd name="connsiteX2" fmla="*/ 1335314 w 1335314"/>
                <a:gd name="connsiteY2" fmla="*/ 14514 h 1625600"/>
                <a:gd name="connsiteX0" fmla="*/ 330296 w 548010"/>
                <a:gd name="connsiteY0" fmla="*/ 0 h 393492"/>
                <a:gd name="connsiteX1" fmla="*/ 0 w 548010"/>
                <a:gd name="connsiteY1" fmla="*/ 393492 h 393492"/>
                <a:gd name="connsiteX2" fmla="*/ 548010 w 548010"/>
                <a:gd name="connsiteY2" fmla="*/ 14514 h 393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48010" h="393492">
                  <a:moveTo>
                    <a:pt x="330296" y="0"/>
                  </a:moveTo>
                  <a:lnTo>
                    <a:pt x="0" y="393492"/>
                  </a:lnTo>
                  <a:lnTo>
                    <a:pt x="548010" y="14514"/>
                  </a:lnTo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3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885" name="Rettangolo 2884">
              <a:extLst>
                <a:ext uri="{FF2B5EF4-FFF2-40B4-BE49-F238E27FC236}">
                  <a16:creationId xmlns="" xmlns:a16="http://schemas.microsoft.com/office/drawing/2014/main" id="{3F10F1A0-2E1C-4AE7-81AE-64EB331C86A7}"/>
                </a:ext>
              </a:extLst>
            </p:cNvPr>
            <p:cNvSpPr/>
            <p:nvPr/>
          </p:nvSpPr>
          <p:spPr bwMode="auto">
            <a:xfrm>
              <a:off x="5488768" y="3905384"/>
              <a:ext cx="211347" cy="146837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7</a:t>
              </a:r>
            </a:p>
          </p:txBody>
        </p:sp>
        <p:sp>
          <p:nvSpPr>
            <p:cNvPr id="2886" name="Ovale 288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22376" y="3672663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7" name="Ovale 288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74698" y="3685843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8" name="Ovale 288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00753" y="3710303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89" name="Ovale 288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35262" y="3719060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0" name="Ovale 288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80273" y="3609664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1" name="Ovale 289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93159" y="3656061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2" name="Ovale 289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79526" y="3691713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3" name="Ovale 289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37423" y="3628714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4" name="Ovale 289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50309" y="3675111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5" name="Ovale 289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87904" y="3722637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6" name="Ovale 289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45801" y="3659638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7" name="Ovale 289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58687" y="3706035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8" name="Ovale 289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66218" y="3728585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899" name="Ovale 289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72383" y="3620275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0" name="Ovale 289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59075" y="3657147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1" name="Ovale 290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24757" y="3648851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2" name="Ovale 2901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17614" y="3577413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3" name="Ovale 2902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04306" y="3614285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4" name="Ovale 2903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79801" y="3582371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5" name="Ovale 2904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53333" y="3548838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6" name="Ovale 2905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40025" y="3585710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7" name="Ovale 2906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715508" y="3549034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8" name="Ovale 2907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77408" y="3579990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09" name="Ovale 2908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84552" y="3546652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10" name="Ovale 2909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58358" y="3625234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11" name="Ovale 2910">
              <a:extLst>
                <a:ext uri="{FF2B5EF4-FFF2-40B4-BE49-F238E27FC236}">
                  <a16:creationId xmlns="" xmlns:a16="http://schemas.microsoft.com/office/drawing/2014/main" id="{36858B03-B4D9-4C53-AF92-C3382A7321ED}"/>
                </a:ext>
              </a:extLst>
            </p:cNvPr>
            <p:cNvSpPr/>
            <p:nvPr/>
          </p:nvSpPr>
          <p:spPr bwMode="auto">
            <a:xfrm>
              <a:off x="3646452" y="3594278"/>
              <a:ext cx="27167" cy="27167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12" name="Rettangolo 291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2339362" y="3283851"/>
              <a:ext cx="1187263" cy="40573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100" b="1" dirty="0" smtClean="0">
                  <a:solidFill>
                    <a:srgbClr val="000000"/>
                  </a:solidFill>
                  <a:latin typeface="Arial"/>
                </a:rPr>
                <a:t>Quarticciolo </a:t>
              </a:r>
              <a:endParaRPr lang="it-IT" sz="1100" b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13" name="Figura a mano libera 2912"/>
            <p:cNvSpPr/>
            <p:nvPr/>
          </p:nvSpPr>
          <p:spPr bwMode="auto">
            <a:xfrm rot="16200000">
              <a:off x="3485522" y="3409222"/>
              <a:ext cx="211734" cy="159358"/>
            </a:xfrm>
            <a:custGeom>
              <a:avLst/>
              <a:gdLst>
                <a:gd name="connsiteX0" fmla="*/ 1117600 w 1335314"/>
                <a:gd name="connsiteY0" fmla="*/ 0 h 1625600"/>
                <a:gd name="connsiteX1" fmla="*/ 0 w 1335314"/>
                <a:gd name="connsiteY1" fmla="*/ 1625600 h 1625600"/>
                <a:gd name="connsiteX2" fmla="*/ 1335314 w 1335314"/>
                <a:gd name="connsiteY2" fmla="*/ 14514 h 1625600"/>
                <a:gd name="connsiteX0" fmla="*/ 330296 w 548010"/>
                <a:gd name="connsiteY0" fmla="*/ 0 h 393492"/>
                <a:gd name="connsiteX1" fmla="*/ 0 w 548010"/>
                <a:gd name="connsiteY1" fmla="*/ 393492 h 393492"/>
                <a:gd name="connsiteX2" fmla="*/ 548010 w 548010"/>
                <a:gd name="connsiteY2" fmla="*/ 14514 h 393492"/>
                <a:gd name="connsiteX0" fmla="*/ 94807 w 312521"/>
                <a:gd name="connsiteY0" fmla="*/ 0 h 193738"/>
                <a:gd name="connsiteX1" fmla="*/ 0 w 312521"/>
                <a:gd name="connsiteY1" fmla="*/ 193738 h 193738"/>
                <a:gd name="connsiteX2" fmla="*/ 312521 w 312521"/>
                <a:gd name="connsiteY2" fmla="*/ 14514 h 193738"/>
                <a:gd name="connsiteX0" fmla="*/ 94807 w 312521"/>
                <a:gd name="connsiteY0" fmla="*/ 0 h 193738"/>
                <a:gd name="connsiteX1" fmla="*/ 0 w 312521"/>
                <a:gd name="connsiteY1" fmla="*/ 193738 h 193738"/>
                <a:gd name="connsiteX2" fmla="*/ 312521 w 312521"/>
                <a:gd name="connsiteY2" fmla="*/ 14514 h 193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2521" h="193738">
                  <a:moveTo>
                    <a:pt x="94807" y="0"/>
                  </a:moveTo>
                  <a:lnTo>
                    <a:pt x="0" y="193738"/>
                  </a:lnTo>
                  <a:lnTo>
                    <a:pt x="312521" y="14514"/>
                  </a:lnTo>
                </a:path>
              </a:pathLst>
            </a:custGeom>
            <a:solidFill>
              <a:schemeClr val="bg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  <a:effectLst/>
            <a:extLst/>
          </p:spPr>
          <p:txBody>
            <a:bodyPr vert="horz" wrap="none" lIns="92075" tIns="46038" rIns="92075" bIns="46038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it-IT" sz="3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2914" name="Rettangolo 2913">
              <a:extLst>
                <a:ext uri="{FF2B5EF4-FFF2-40B4-BE49-F238E27FC236}">
                  <a16:creationId xmlns="" xmlns:a16="http://schemas.microsoft.com/office/drawing/2014/main" id="{BB9D05FB-6365-4EE5-819F-72B79171C1B9}"/>
                </a:ext>
              </a:extLst>
            </p:cNvPr>
            <p:cNvSpPr/>
            <p:nvPr/>
          </p:nvSpPr>
          <p:spPr bwMode="auto">
            <a:xfrm>
              <a:off x="3315277" y="3542752"/>
              <a:ext cx="211347" cy="146837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 smtClean="0">
                  <a:solidFill>
                    <a:schemeClr val="bg1"/>
                  </a:solidFill>
                  <a:latin typeface="Arial"/>
                </a:rPr>
                <a:t>24</a:t>
              </a:r>
              <a:endParaRPr lang="it-IT" sz="900" b="1" i="1" dirty="0">
                <a:solidFill>
                  <a:schemeClr val="bg1"/>
                </a:solidFill>
                <a:latin typeface="Arial"/>
              </a:endParaRPr>
            </a:p>
          </p:txBody>
        </p:sp>
        <p:grpSp>
          <p:nvGrpSpPr>
            <p:cNvPr id="2915" name="Gruppo 2914"/>
            <p:cNvGrpSpPr/>
            <p:nvPr/>
          </p:nvGrpSpPr>
          <p:grpSpPr>
            <a:xfrm>
              <a:off x="456964" y="3192991"/>
              <a:ext cx="1829520" cy="914417"/>
              <a:chOff x="456964" y="3192991"/>
              <a:chExt cx="1829520" cy="914417"/>
            </a:xfrm>
          </p:grpSpPr>
          <p:sp>
            <p:nvSpPr>
              <p:cNvPr id="2996" name="Ovale 2995">
                <a:extLst>
                  <a:ext uri="{FF2B5EF4-FFF2-40B4-BE49-F238E27FC236}">
                    <a16:creationId xmlns="" xmlns:a16="http://schemas.microsoft.com/office/drawing/2014/main" id="{36858B03-B4D9-4C53-AF92-C3382A7321ED}"/>
                  </a:ext>
                </a:extLst>
              </p:cNvPr>
              <p:cNvSpPr/>
              <p:nvPr/>
            </p:nvSpPr>
            <p:spPr bwMode="auto">
              <a:xfrm>
                <a:off x="568760" y="3829415"/>
                <a:ext cx="27166" cy="27166"/>
              </a:xfrm>
              <a:prstGeom prst="ellipse">
                <a:avLst/>
              </a:prstGeom>
              <a:solidFill>
                <a:schemeClr val="accent6"/>
              </a:solidFill>
              <a:ln w="3175">
                <a:solidFill>
                  <a:schemeClr val="accent6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grpSp>
            <p:nvGrpSpPr>
              <p:cNvPr id="2997" name="Gruppo 2996"/>
              <p:cNvGrpSpPr/>
              <p:nvPr/>
            </p:nvGrpSpPr>
            <p:grpSpPr>
              <a:xfrm>
                <a:off x="456964" y="3192991"/>
                <a:ext cx="1829520" cy="914417"/>
                <a:chOff x="456964" y="3192991"/>
                <a:chExt cx="1829520" cy="914417"/>
              </a:xfrm>
            </p:grpSpPr>
            <p:sp>
              <p:nvSpPr>
                <p:cNvPr id="2998" name="Ovale 299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541172" y="3824571"/>
                  <a:ext cx="27166" cy="27166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grpSp>
              <p:nvGrpSpPr>
                <p:cNvPr id="2999" name="Gruppo 2998"/>
                <p:cNvGrpSpPr/>
                <p:nvPr/>
              </p:nvGrpSpPr>
              <p:grpSpPr>
                <a:xfrm>
                  <a:off x="456964" y="3192991"/>
                  <a:ext cx="1829520" cy="914417"/>
                  <a:chOff x="456964" y="3192991"/>
                  <a:chExt cx="1829520" cy="914417"/>
                </a:xfrm>
              </p:grpSpPr>
              <p:sp>
                <p:nvSpPr>
                  <p:cNvPr id="3000" name="Ovale 2999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9246" y="3839004"/>
                    <a:ext cx="27166" cy="27166"/>
                  </a:xfrm>
                  <a:prstGeom prst="ellipse">
                    <a:avLst/>
                  </a:prstGeom>
                  <a:solidFill>
                    <a:schemeClr val="accent6"/>
                  </a:solidFill>
                  <a:ln w="3175">
                    <a:solidFill>
                      <a:schemeClr val="accent6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sp>
                <p:nvSpPr>
                  <p:cNvPr id="3001" name="Ovale 3000">
                    <a:extLst>
                      <a:ext uri="{FF2B5EF4-FFF2-40B4-BE49-F238E27FC236}">
                        <a16:creationId xmlns="" xmlns:a16="http://schemas.microsoft.com/office/drawing/2014/main" id="{36858B03-B4D9-4C53-AF92-C3382A7321ED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509246" y="3817441"/>
                    <a:ext cx="27166" cy="27166"/>
                  </a:xfrm>
                  <a:prstGeom prst="ellipse">
                    <a:avLst/>
                  </a:prstGeom>
                  <a:solidFill>
                    <a:schemeClr val="accent6"/>
                  </a:solidFill>
                  <a:ln w="3175">
                    <a:solidFill>
                      <a:schemeClr val="accent6">
                        <a:lumMod val="75000"/>
                      </a:schemeClr>
                    </a:solidFill>
                  </a:ln>
                  <a:effectLst/>
                  <a:extLst/>
                </p:spPr>
                <p:txBody>
                  <a:bodyPr wrap="square" lIns="0" tIns="0" rIns="0" bIns="0" rtlCol="0" anchor="ctr">
                    <a:spAutoFit/>
                  </a:bodyPr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it-IT" sz="2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+mn-cs"/>
                    </a:endParaRPr>
                  </a:p>
                </p:txBody>
              </p:sp>
              <p:grpSp>
                <p:nvGrpSpPr>
                  <p:cNvPr id="3002" name="Gruppo 3001"/>
                  <p:cNvGrpSpPr/>
                  <p:nvPr/>
                </p:nvGrpSpPr>
                <p:grpSpPr>
                  <a:xfrm>
                    <a:off x="456964" y="3192991"/>
                    <a:ext cx="1829520" cy="914417"/>
                    <a:chOff x="456964" y="3192991"/>
                    <a:chExt cx="1829520" cy="914417"/>
                  </a:xfrm>
                </p:grpSpPr>
                <p:grpSp>
                  <p:nvGrpSpPr>
                    <p:cNvPr id="3003" name="Gruppo 3002"/>
                    <p:cNvGrpSpPr/>
                    <p:nvPr/>
                  </p:nvGrpSpPr>
                  <p:grpSpPr>
                    <a:xfrm>
                      <a:off x="456964" y="3851977"/>
                      <a:ext cx="215263" cy="255431"/>
                      <a:chOff x="456964" y="3851977"/>
                      <a:chExt cx="215263" cy="255431"/>
                    </a:xfrm>
                  </p:grpSpPr>
                  <p:sp>
                    <p:nvSpPr>
                      <p:cNvPr id="3005" name="Ovale 3004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11642" y="3918860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06" name="Ovale 3005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46417" y="3954851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07" name="Ovale 3006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79715" y="3933293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08" name="Ovale 3007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16886" y="3976472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09" name="Ovale 3008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16886" y="3949305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0" name="Ovale 3009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89720" y="396142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1" name="Ovale 3010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81721" y="3990072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2" name="Ovale 3011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39229" y="392370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3" name="Ovale 3012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58573" y="396142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4" name="Ovale 3013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79715" y="3911730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5" name="Ovale 3014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56964" y="390527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6" name="Ovale 3015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75948" y="3860562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7" name="Ovale 3016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46417" y="3882183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8" name="Ovale 3017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46417" y="385501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19" name="Ovale 3018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19251" y="3867138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0" name="Ovale 3019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11252" y="3895783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1" name="Ovale 3020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88104" y="3867138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2" name="Ovale 3021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06981" y="3873540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3" name="Ovale 3022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44152" y="3916719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4" name="Ovale 3023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16986" y="390167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5" name="Ovale 3024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08987" y="3930319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6" name="Ovale 3025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85839" y="390167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7" name="Ovale 3026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06981" y="385197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8" name="Ovale 3027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01172" y="392379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29" name="Ovale 3028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35947" y="3959789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0" name="Ovale 3029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69245" y="3938230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1" name="Ovale 3030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06416" y="3981409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2" name="Ovale 3031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06416" y="3954243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3" name="Ovale 3032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79250" y="396636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4" name="Ovale 3033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71251" y="3995009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5" name="Ovale 3034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48103" y="396636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6" name="Ovale 3035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69245" y="391666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7" name="Ovale 3036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29294" y="4022630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8" name="Ovale 3037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64069" y="4058621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39" name="Ovale 3038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97367" y="4037063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0" name="Ovale 3039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34539" y="4080242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1" name="Ovale 3040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34539" y="4053075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2" name="Ovale 3041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07372" y="406519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3" name="Ovale 3042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56881" y="402747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4" name="Ovale 3043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497367" y="4015499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5" name="Ovale 3044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17473" y="4000607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6" name="Ovale 3045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85547" y="4015040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7" name="Ovale 3046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22718" y="4031052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8" name="Ovale 3047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595551" y="4043174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  <p:sp>
                    <p:nvSpPr>
                      <p:cNvPr id="3049" name="Ovale 3048">
                        <a:extLst>
                          <a:ext uri="{FF2B5EF4-FFF2-40B4-BE49-F238E27FC236}">
                            <a16:creationId xmlns="" xmlns:a16="http://schemas.microsoft.com/office/drawing/2014/main" id="{36858B03-B4D9-4C53-AF92-C3382A7321ED}"/>
                          </a:ext>
                        </a:extLst>
                      </p:cNvPr>
                      <p:cNvSpPr/>
                      <p:nvPr/>
                    </p:nvSpPr>
                    <p:spPr bwMode="auto">
                      <a:xfrm>
                        <a:off x="645061" y="4005451"/>
                        <a:ext cx="27166" cy="27166"/>
                      </a:xfrm>
                      <a:prstGeom prst="ellipse">
                        <a:avLst/>
                      </a:prstGeom>
                      <a:solidFill>
                        <a:schemeClr val="accent6"/>
                      </a:solidFill>
                      <a:ln w="3175">
                        <a:solidFill>
                          <a:schemeClr val="accent6">
                            <a:lumMod val="75000"/>
                          </a:schemeClr>
                        </a:solidFill>
                      </a:ln>
                      <a:effectLst/>
                      <a:extLst/>
                    </p:spPr>
                    <p:txBody>
                      <a:bodyPr wrap="square" lIns="0" tIns="0" rIns="0" bIns="0" rtlCol="0" anchor="ctr">
                        <a:spAutoFit/>
                      </a:bodyPr>
                      <a:lstStyle/>
                      <a:p>
                        <a:pPr marL="0" marR="0" lvl="0" indent="0" algn="ctr" defTabSz="914400" rtl="0" eaLnBrk="0" fontAlgn="base" latinLnBrk="0" hangingPunct="0">
                          <a:lnSpc>
                            <a:spcPct val="100000"/>
                          </a:lnSpc>
                          <a:spcBef>
                            <a:spcPct val="0"/>
                          </a:spcBef>
                          <a:spcAft>
                            <a:spcPct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2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MS PGothic" panose="020B0600070205080204" pitchFamily="34" charset="-128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3004" name="Rettangolo 3003">
                      <a:extLst>
                        <a:ext uri="{FF2B5EF4-FFF2-40B4-BE49-F238E27FC236}">
                          <a16:creationId xmlns="" xmlns:a16="http://schemas.microsoft.com/office/drawing/2014/main" id="{6ABC453A-1FB3-463B-AA4F-CC1BABDE64B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2075137" y="3192991"/>
                      <a:ext cx="211347" cy="130667"/>
                    </a:xfrm>
                    <a:prstGeom prst="rect">
                      <a:avLst/>
                    </a:prstGeom>
                    <a:solidFill>
                      <a:schemeClr val="accent6"/>
                    </a:solidFill>
                    <a:ln w="9525" cap="flat" cmpd="sng" algn="ctr">
                      <a:solidFill>
                        <a:schemeClr val="accent6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none" lIns="18000" tIns="18000" rIns="18000" bIns="1800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 eaLnBrk="0" hangingPunct="0">
                        <a:spcAft>
                          <a:spcPts val="200"/>
                        </a:spcAft>
                        <a:defRPr/>
                      </a:pPr>
                      <a:r>
                        <a:rPr lang="it-IT" sz="900" b="1" i="1" dirty="0">
                          <a:solidFill>
                            <a:schemeClr val="bg1"/>
                          </a:solidFill>
                          <a:latin typeface="Arial"/>
                        </a:rPr>
                        <a:t>57</a:t>
                      </a:r>
                    </a:p>
                  </p:txBody>
                </p:sp>
              </p:grpSp>
            </p:grpSp>
          </p:grpSp>
        </p:grpSp>
        <p:sp>
          <p:nvSpPr>
            <p:cNvPr id="2916" name="Ovale 2915">
              <a:extLst>
                <a:ext uri="{FF2B5EF4-FFF2-40B4-BE49-F238E27FC236}">
                  <a16:creationId xmlns="" xmlns:a16="http://schemas.microsoft.com/office/drawing/2014/main" id="{C3C8A05C-F259-4D6D-A06F-7A2180D5F124}"/>
                </a:ext>
              </a:extLst>
            </p:cNvPr>
            <p:cNvSpPr/>
            <p:nvPr/>
          </p:nvSpPr>
          <p:spPr bwMode="auto">
            <a:xfrm>
              <a:off x="5417700" y="1476280"/>
              <a:ext cx="71030" cy="71030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917" name="CasellaDiTesto 2916">
              <a:extLst>
                <a:ext uri="{FF2B5EF4-FFF2-40B4-BE49-F238E27FC236}">
                  <a16:creationId xmlns="" xmlns:a16="http://schemas.microsoft.com/office/drawing/2014/main" id="{42003807-F02D-4056-84DA-D30BA2E5FEE0}"/>
                </a:ext>
              </a:extLst>
            </p:cNvPr>
            <p:cNvSpPr txBox="1"/>
            <p:nvPr/>
          </p:nvSpPr>
          <p:spPr>
            <a:xfrm>
              <a:off x="5594555" y="1434851"/>
              <a:ext cx="615553" cy="15388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2021 </a:t>
              </a:r>
              <a:r>
                <a:rPr kumimoji="0" lang="it-IT" sz="1000" b="0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(181)</a:t>
              </a:r>
              <a:endParaRPr kumimoji="0" lang="it-IT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grpSp>
          <p:nvGrpSpPr>
            <p:cNvPr id="2918" name="Gruppo 2917"/>
            <p:cNvGrpSpPr/>
            <p:nvPr/>
          </p:nvGrpSpPr>
          <p:grpSpPr>
            <a:xfrm>
              <a:off x="324429" y="5027452"/>
              <a:ext cx="1230563" cy="823367"/>
              <a:chOff x="324429" y="5027452"/>
              <a:chExt cx="1230563" cy="823367"/>
            </a:xfrm>
          </p:grpSpPr>
          <p:sp>
            <p:nvSpPr>
              <p:cNvPr id="2919" name="Rettangolo 2918">
                <a:extLst>
                  <a:ext uri="{FF2B5EF4-FFF2-40B4-BE49-F238E27FC236}">
                    <a16:creationId xmlns="" xmlns:a16="http://schemas.microsoft.com/office/drawing/2014/main" id="{CC8731E4-E6B6-467D-9B7B-35A7DBBE8DBF}"/>
                  </a:ext>
                </a:extLst>
              </p:cNvPr>
              <p:cNvSpPr/>
              <p:nvPr/>
            </p:nvSpPr>
            <p:spPr bwMode="auto">
              <a:xfrm>
                <a:off x="367729" y="5445080"/>
                <a:ext cx="1187263" cy="40573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8000" tIns="18000" rIns="18000" bIns="1800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1100" b="1" dirty="0">
                    <a:solidFill>
                      <a:srgbClr val="000000"/>
                    </a:solidFill>
                    <a:latin typeface="Arial"/>
                  </a:rPr>
                  <a:t>Ostia</a:t>
                </a:r>
              </a:p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900" dirty="0">
                    <a:solidFill>
                      <a:srgbClr val="000000"/>
                    </a:solidFill>
                    <a:latin typeface="Arial"/>
                  </a:rPr>
                  <a:t>Idroscalo</a:t>
                </a:r>
              </a:p>
            </p:txBody>
          </p:sp>
          <p:grpSp>
            <p:nvGrpSpPr>
              <p:cNvPr id="2920" name="Gruppo 2919"/>
              <p:cNvGrpSpPr/>
              <p:nvPr/>
            </p:nvGrpSpPr>
            <p:grpSpPr>
              <a:xfrm>
                <a:off x="324429" y="5027452"/>
                <a:ext cx="326786" cy="303568"/>
                <a:chOff x="701122" y="4978098"/>
                <a:chExt cx="433043" cy="402276"/>
              </a:xfrm>
            </p:grpSpPr>
            <p:sp>
              <p:nvSpPr>
                <p:cNvPr id="2923" name="Ovale 292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59158" y="511249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24" name="Ovale 292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05241" y="5160189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25" name="Ovale 292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16850" y="5131621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26" name="Ovale 292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66108" y="5188840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27" name="Ovale 292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66108" y="5152840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28" name="Ovale 292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30108" y="516890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29" name="Ovale 292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19508" y="520686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0" name="Ovale 292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95716" y="5118914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1" name="Ovale 293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88833" y="516890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2" name="Ovale 293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16850" y="5103046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3" name="Ovale 293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86701" y="509449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4" name="Ovale 293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00120" y="524323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5" name="Ovale 293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72234" y="521434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6" name="Ovale 293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70351" y="5274949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7" name="Ovale 293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42465" y="524605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8" name="Ovale 293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45720" y="530950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39" name="Ovale 293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17834" y="528061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0" name="Ovale 293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45219" y="5188840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1" name="Ovale 294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01122" y="519916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2" name="Ovale 294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01194" y="522724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3" name="Ovale 294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27219" y="514811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4" name="Ovale 294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98291" y="498754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5" name="Ovale 294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44374" y="5035241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6" name="Ovale 294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55983" y="500667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7" name="Ovale 294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05241" y="506389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8" name="Ovale 294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05241" y="502789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49" name="Ovale 294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69241" y="504395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0" name="Ovale 294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58641" y="5081914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1" name="Ovale 295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34849" y="4993966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2" name="Ovale 295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27966" y="504395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3" name="Ovale 295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55983" y="497809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4" name="Ovale 295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27806" y="503331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5" name="Ovale 295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73889" y="508100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6" name="Ovale 295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85498" y="5052439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7" name="Ovale 295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34756" y="510965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8" name="Ovale 295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34756" y="507365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59" name="Ovale 295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98756" y="5089721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0" name="Ovale 295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88156" y="5127680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1" name="Ovale 296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64364" y="503973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2" name="Ovale 296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57481" y="5089721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3" name="Ovale 296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85498" y="5023864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4" name="Ovale 296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64364" y="512564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5" name="Ovale 296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47682" y="517691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6" name="Ovale 296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98165" y="520543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7" name="Ovale 296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77800" y="511903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8" name="Ovale 296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23883" y="516673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69" name="Ovale 296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35492" y="5138164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0" name="Ovale 296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84750" y="519538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1" name="Ovale 297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84750" y="515938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2" name="Ovale 297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48750" y="5175446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3" name="Ovale 297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38150" y="521340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4" name="Ovale 297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14358" y="512545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5" name="Ovale 297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07475" y="5175446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6" name="Ovale 297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35492" y="5109589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7" name="Ovale 297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82550" y="525000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8" name="Ovale 297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28633" y="5297701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79" name="Ovale 297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40242" y="526913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0" name="Ovale 297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89500" y="532635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1" name="Ovale 298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89500" y="529035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2" name="Ovale 298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53500" y="530641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3" name="Ovale 298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42900" y="5344374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4" name="Ovale 298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19108" y="5256426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5" name="Ovale 298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12225" y="5306415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6" name="Ovale 2985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840242" y="524055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7" name="Ovale 2986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787594" y="5340974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8" name="Ovale 2987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99402" y="5220823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89" name="Ovale 2988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45485" y="5268517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90" name="Ovale 2989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57094" y="5239949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91" name="Ovale 2990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06352" y="529716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92" name="Ovale 2991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06352" y="5261168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93" name="Ovale 2992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70352" y="5277231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94" name="Ovale 2993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959752" y="5315190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  <p:sp>
              <p:nvSpPr>
                <p:cNvPr id="2995" name="Ovale 2994">
                  <a:extLst>
                    <a:ext uri="{FF2B5EF4-FFF2-40B4-BE49-F238E27FC236}">
                      <a16:creationId xmlns="" xmlns:a16="http://schemas.microsoft.com/office/drawing/2014/main" id="{36858B03-B4D9-4C53-AF92-C3382A7321ED}"/>
                    </a:ext>
                  </a:extLst>
                </p:cNvPr>
                <p:cNvSpPr/>
                <p:nvPr/>
              </p:nvSpPr>
              <p:spPr bwMode="auto">
                <a:xfrm>
                  <a:off x="1035960" y="5227242"/>
                  <a:ext cx="36000" cy="36000"/>
                </a:xfrm>
                <a:prstGeom prst="ellipse">
                  <a:avLst/>
                </a:prstGeom>
                <a:solidFill>
                  <a:schemeClr val="accent6"/>
                </a:solidFill>
                <a:ln w="3175">
                  <a:solidFill>
                    <a:schemeClr val="accent6">
                      <a:lumMod val="75000"/>
                    </a:schemeClr>
                  </a:solidFill>
                </a:ln>
                <a:effectLst/>
                <a:extLst/>
              </p:spPr>
              <p:txBody>
                <a:bodyPr wrap="square" lIns="0" tIns="0" rIns="0" bIns="0" rtlCol="0" anchor="ctr">
                  <a:spAutoFit/>
                </a:bodyPr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it-IT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endParaRPr>
                </a:p>
              </p:txBody>
            </p:sp>
          </p:grpSp>
          <p:sp>
            <p:nvSpPr>
              <p:cNvPr id="2921" name="Figura a mano libera 2920"/>
              <p:cNvSpPr/>
              <p:nvPr/>
            </p:nvSpPr>
            <p:spPr bwMode="auto">
              <a:xfrm flipV="1">
                <a:off x="703239" y="5157626"/>
                <a:ext cx="371278" cy="323664"/>
              </a:xfrm>
              <a:custGeom>
                <a:avLst/>
                <a:gdLst>
                  <a:gd name="connsiteX0" fmla="*/ 1117600 w 1335314"/>
                  <a:gd name="connsiteY0" fmla="*/ 0 h 1625600"/>
                  <a:gd name="connsiteX1" fmla="*/ 0 w 1335314"/>
                  <a:gd name="connsiteY1" fmla="*/ 1625600 h 1625600"/>
                  <a:gd name="connsiteX2" fmla="*/ 1335314 w 1335314"/>
                  <a:gd name="connsiteY2" fmla="*/ 14514 h 1625600"/>
                  <a:gd name="connsiteX0" fmla="*/ 330296 w 548010"/>
                  <a:gd name="connsiteY0" fmla="*/ 0 h 393492"/>
                  <a:gd name="connsiteX1" fmla="*/ 0 w 548010"/>
                  <a:gd name="connsiteY1" fmla="*/ 393492 h 393492"/>
                  <a:gd name="connsiteX2" fmla="*/ 548010 w 548010"/>
                  <a:gd name="connsiteY2" fmla="*/ 14514 h 393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8010" h="393492">
                    <a:moveTo>
                      <a:pt x="330296" y="0"/>
                    </a:moveTo>
                    <a:lnTo>
                      <a:pt x="0" y="393492"/>
                    </a:lnTo>
                    <a:lnTo>
                      <a:pt x="548010" y="14514"/>
                    </a:lnTo>
                  </a:path>
                </a:pathLst>
              </a:custGeom>
              <a:solidFill>
                <a:schemeClr val="bg1"/>
              </a:solidFill>
              <a:ln w="9525" algn="ctr">
                <a:solidFill>
                  <a:schemeClr val="accent1"/>
                </a:solidFill>
                <a:miter lim="800000"/>
                <a:headEnd/>
                <a:tailEnd/>
              </a:ln>
              <a:effectLst/>
              <a:extLst/>
            </p:spPr>
            <p:txBody>
              <a:bodyPr vert="horz" wrap="none" lIns="92075" tIns="46038" rIns="92075" bIns="46038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it-IT" sz="36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  <p:sp>
            <p:nvSpPr>
              <p:cNvPr id="2922" name="Rettangolo 2921">
                <a:extLst>
                  <a:ext uri="{FF2B5EF4-FFF2-40B4-BE49-F238E27FC236}">
                    <a16:creationId xmlns="" xmlns:a16="http://schemas.microsoft.com/office/drawing/2014/main" id="{EEB9864B-FEE4-4339-A524-8B359F90F6E9}"/>
                  </a:ext>
                </a:extLst>
              </p:cNvPr>
              <p:cNvSpPr/>
              <p:nvPr/>
            </p:nvSpPr>
            <p:spPr bwMode="auto">
              <a:xfrm>
                <a:off x="1343644" y="5703981"/>
                <a:ext cx="211347" cy="146837"/>
              </a:xfrm>
              <a:prstGeom prst="rect">
                <a:avLst/>
              </a:prstGeom>
              <a:solidFill>
                <a:schemeClr val="accent6"/>
              </a:solidFill>
              <a:ln w="9525" cap="flat" cmpd="sng" algn="ctr">
                <a:solidFill>
                  <a:schemeClr val="accent6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18000" tIns="18000" rIns="18000" bIns="18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Aft>
                    <a:spcPts val="200"/>
                  </a:spcAft>
                </a:pPr>
                <a:r>
                  <a:rPr lang="it-IT" sz="900" b="1" i="1" dirty="0">
                    <a:solidFill>
                      <a:schemeClr val="bg1"/>
                    </a:solidFill>
                    <a:latin typeface="Arial"/>
                  </a:rPr>
                  <a:t>80</a:t>
                </a:r>
              </a:p>
            </p:txBody>
          </p:sp>
        </p:grpSp>
      </p:grpSp>
      <p:grpSp>
        <p:nvGrpSpPr>
          <p:cNvPr id="3054" name="Gruppo 3053"/>
          <p:cNvGrpSpPr/>
          <p:nvPr/>
        </p:nvGrpSpPr>
        <p:grpSpPr>
          <a:xfrm>
            <a:off x="469398" y="984422"/>
            <a:ext cx="5934674" cy="4295653"/>
            <a:chOff x="469398" y="984422"/>
            <a:chExt cx="5934674" cy="4295653"/>
          </a:xfrm>
        </p:grpSpPr>
        <p:grpSp>
          <p:nvGrpSpPr>
            <p:cNvPr id="3055" name="Gruppo 3054"/>
            <p:cNvGrpSpPr/>
            <p:nvPr/>
          </p:nvGrpSpPr>
          <p:grpSpPr>
            <a:xfrm>
              <a:off x="469398" y="1659482"/>
              <a:ext cx="5934674" cy="3620593"/>
              <a:chOff x="469398" y="1649956"/>
              <a:chExt cx="5934674" cy="3620593"/>
            </a:xfrm>
          </p:grpSpPr>
          <p:sp>
            <p:nvSpPr>
              <p:cNvPr id="3062" name="Ovale 3061">
                <a:extLst>
                  <a:ext uri="{FF2B5EF4-FFF2-40B4-BE49-F238E27FC236}">
                    <a16:creationId xmlns="" xmlns:a16="http://schemas.microsoft.com/office/drawing/2014/main" id="{E13E54D0-0C11-4EC2-B9B9-6557D6AF2F2D}"/>
                  </a:ext>
                </a:extLst>
              </p:cNvPr>
              <p:cNvSpPr/>
              <p:nvPr/>
            </p:nvSpPr>
            <p:spPr bwMode="auto">
              <a:xfrm>
                <a:off x="5417700" y="1691384"/>
                <a:ext cx="71030" cy="7103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3" name="CasellaDiTesto 3062">
                <a:extLst>
                  <a:ext uri="{FF2B5EF4-FFF2-40B4-BE49-F238E27FC236}">
                    <a16:creationId xmlns="" xmlns:a16="http://schemas.microsoft.com/office/drawing/2014/main" id="{AEA9378B-1EE3-47C6-BD76-0E9F6F8E91D9}"/>
                  </a:ext>
                </a:extLst>
              </p:cNvPr>
              <p:cNvSpPr txBox="1"/>
              <p:nvPr/>
            </p:nvSpPr>
            <p:spPr>
              <a:xfrm>
                <a:off x="5594555" y="1649956"/>
                <a:ext cx="809517" cy="3077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rPr>
                  <a:t>Frazionamenti</a:t>
                </a:r>
              </a:p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+mn-cs"/>
                  </a:rPr>
                  <a:t>(2019-2021)</a:t>
                </a:r>
              </a:p>
            </p:txBody>
          </p:sp>
          <p:sp>
            <p:nvSpPr>
              <p:cNvPr id="3064" name="Ovale 3063">
                <a:extLst>
                  <a:ext uri="{FF2B5EF4-FFF2-40B4-BE49-F238E27FC236}">
                    <a16:creationId xmlns="" xmlns:a16="http://schemas.microsoft.com/office/drawing/2014/main" id="{D15F79CC-608B-4A60-9FF8-E00854750CCB}"/>
                  </a:ext>
                </a:extLst>
              </p:cNvPr>
              <p:cNvSpPr/>
              <p:nvPr/>
            </p:nvSpPr>
            <p:spPr bwMode="auto">
              <a:xfrm>
                <a:off x="2917005" y="226374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5" name="Ovale 3064">
                <a:extLst>
                  <a:ext uri="{FF2B5EF4-FFF2-40B4-BE49-F238E27FC236}">
                    <a16:creationId xmlns="" xmlns:a16="http://schemas.microsoft.com/office/drawing/2014/main" id="{60D88A65-887E-4051-B36B-A3F4A08ADBF2}"/>
                  </a:ext>
                </a:extLst>
              </p:cNvPr>
              <p:cNvSpPr/>
              <p:nvPr/>
            </p:nvSpPr>
            <p:spPr bwMode="auto">
              <a:xfrm>
                <a:off x="2863665" y="238566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6" name="Ovale 3065">
                <a:extLst>
                  <a:ext uri="{FF2B5EF4-FFF2-40B4-BE49-F238E27FC236}">
                    <a16:creationId xmlns="" xmlns:a16="http://schemas.microsoft.com/office/drawing/2014/main" id="{E080437E-88D2-44EE-A541-959C603E275C}"/>
                  </a:ext>
                </a:extLst>
              </p:cNvPr>
              <p:cNvSpPr/>
              <p:nvPr/>
            </p:nvSpPr>
            <p:spPr bwMode="auto">
              <a:xfrm>
                <a:off x="2856045" y="253044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7" name="Ovale 3066">
                <a:extLst>
                  <a:ext uri="{FF2B5EF4-FFF2-40B4-BE49-F238E27FC236}">
                    <a16:creationId xmlns="" xmlns:a16="http://schemas.microsoft.com/office/drawing/2014/main" id="{7CAE2062-8345-44D6-AE59-E080A0C74407}"/>
                  </a:ext>
                </a:extLst>
              </p:cNvPr>
              <p:cNvSpPr/>
              <p:nvPr/>
            </p:nvSpPr>
            <p:spPr bwMode="auto">
              <a:xfrm>
                <a:off x="2993205" y="263712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8" name="Ovale 3067">
                <a:extLst>
                  <a:ext uri="{FF2B5EF4-FFF2-40B4-BE49-F238E27FC236}">
                    <a16:creationId xmlns="" xmlns:a16="http://schemas.microsoft.com/office/drawing/2014/main" id="{847B9240-F6EF-4E2D-9497-24A8B35D6B31}"/>
                  </a:ext>
                </a:extLst>
              </p:cNvPr>
              <p:cNvSpPr/>
              <p:nvPr/>
            </p:nvSpPr>
            <p:spPr bwMode="auto">
              <a:xfrm>
                <a:off x="2802705" y="266760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9" name="Ovale 3068">
                <a:extLst>
                  <a:ext uri="{FF2B5EF4-FFF2-40B4-BE49-F238E27FC236}">
                    <a16:creationId xmlns="" xmlns:a16="http://schemas.microsoft.com/office/drawing/2014/main" id="{DC10F854-7967-4BCC-B344-6D6E9B7F41ED}"/>
                  </a:ext>
                </a:extLst>
              </p:cNvPr>
              <p:cNvSpPr/>
              <p:nvPr/>
            </p:nvSpPr>
            <p:spPr bwMode="auto">
              <a:xfrm>
                <a:off x="2711265" y="267522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0" name="Ovale 3069">
                <a:extLst>
                  <a:ext uri="{FF2B5EF4-FFF2-40B4-BE49-F238E27FC236}">
                    <a16:creationId xmlns="" xmlns:a16="http://schemas.microsoft.com/office/drawing/2014/main" id="{E95CB7CD-6626-4E34-B096-EADE0EF79D13}"/>
                  </a:ext>
                </a:extLst>
              </p:cNvPr>
              <p:cNvSpPr/>
              <p:nvPr/>
            </p:nvSpPr>
            <p:spPr bwMode="auto">
              <a:xfrm>
                <a:off x="2749365" y="282000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1" name="Ovale 3070">
                <a:extLst>
                  <a:ext uri="{FF2B5EF4-FFF2-40B4-BE49-F238E27FC236}">
                    <a16:creationId xmlns="" xmlns:a16="http://schemas.microsoft.com/office/drawing/2014/main" id="{4737A62D-96BD-499D-8886-D74301B2B13A}"/>
                  </a:ext>
                </a:extLst>
              </p:cNvPr>
              <p:cNvSpPr/>
              <p:nvPr/>
            </p:nvSpPr>
            <p:spPr bwMode="auto">
              <a:xfrm>
                <a:off x="2817945" y="294954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2" name="Ovale 3071">
                <a:extLst>
                  <a:ext uri="{FF2B5EF4-FFF2-40B4-BE49-F238E27FC236}">
                    <a16:creationId xmlns="" xmlns:a16="http://schemas.microsoft.com/office/drawing/2014/main" id="{C61136BB-1741-4784-869E-C31328BBABC7}"/>
                  </a:ext>
                </a:extLst>
              </p:cNvPr>
              <p:cNvSpPr/>
              <p:nvPr/>
            </p:nvSpPr>
            <p:spPr bwMode="auto">
              <a:xfrm>
                <a:off x="3234707" y="3186980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3" name="Ovale 3072">
                <a:extLst>
                  <a:ext uri="{FF2B5EF4-FFF2-40B4-BE49-F238E27FC236}">
                    <a16:creationId xmlns="" xmlns:a16="http://schemas.microsoft.com/office/drawing/2014/main" id="{59AFE819-4E6C-4DA1-83E5-C07469F208EA}"/>
                  </a:ext>
                </a:extLst>
              </p:cNvPr>
              <p:cNvSpPr/>
              <p:nvPr/>
            </p:nvSpPr>
            <p:spPr bwMode="auto">
              <a:xfrm>
                <a:off x="3137985" y="316290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4" name="Ovale 3073">
                <a:extLst>
                  <a:ext uri="{FF2B5EF4-FFF2-40B4-BE49-F238E27FC236}">
                    <a16:creationId xmlns="" xmlns:a16="http://schemas.microsoft.com/office/drawing/2014/main" id="{BC23A53B-B6CC-436C-8537-B643F2F8C242}"/>
                  </a:ext>
                </a:extLst>
              </p:cNvPr>
              <p:cNvSpPr/>
              <p:nvPr/>
            </p:nvSpPr>
            <p:spPr bwMode="auto">
              <a:xfrm>
                <a:off x="3061785" y="320862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5" name="Ovale 3074">
                <a:extLst>
                  <a:ext uri="{FF2B5EF4-FFF2-40B4-BE49-F238E27FC236}">
                    <a16:creationId xmlns="" xmlns:a16="http://schemas.microsoft.com/office/drawing/2014/main" id="{678BA538-2A41-4885-A9D7-70D34542BBEE}"/>
                  </a:ext>
                </a:extLst>
              </p:cNvPr>
              <p:cNvSpPr/>
              <p:nvPr/>
            </p:nvSpPr>
            <p:spPr bwMode="auto">
              <a:xfrm>
                <a:off x="2995887" y="316025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6" name="Ovale 3075">
                <a:extLst>
                  <a:ext uri="{FF2B5EF4-FFF2-40B4-BE49-F238E27FC236}">
                    <a16:creationId xmlns="" xmlns:a16="http://schemas.microsoft.com/office/drawing/2014/main" id="{30EAF00E-F727-4FCA-BAD5-68CC2FC279C3}"/>
                  </a:ext>
                </a:extLst>
              </p:cNvPr>
              <p:cNvSpPr/>
              <p:nvPr/>
            </p:nvSpPr>
            <p:spPr bwMode="auto">
              <a:xfrm>
                <a:off x="2969312" y="3219565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7" name="Ovale 3076">
                <a:extLst>
                  <a:ext uri="{FF2B5EF4-FFF2-40B4-BE49-F238E27FC236}">
                    <a16:creationId xmlns="" xmlns:a16="http://schemas.microsoft.com/office/drawing/2014/main" id="{D6E4A2BA-1FAC-40AC-BDA3-EBCA51F4CC35}"/>
                  </a:ext>
                </a:extLst>
              </p:cNvPr>
              <p:cNvSpPr/>
              <p:nvPr/>
            </p:nvSpPr>
            <p:spPr bwMode="auto">
              <a:xfrm>
                <a:off x="3240777" y="3091495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8" name="Ovale 3077">
                <a:extLst>
                  <a:ext uri="{FF2B5EF4-FFF2-40B4-BE49-F238E27FC236}">
                    <a16:creationId xmlns="" xmlns:a16="http://schemas.microsoft.com/office/drawing/2014/main" id="{1A03219E-FAF7-4D1D-83DF-95EF25112092}"/>
                  </a:ext>
                </a:extLst>
              </p:cNvPr>
              <p:cNvSpPr/>
              <p:nvPr/>
            </p:nvSpPr>
            <p:spPr bwMode="auto">
              <a:xfrm>
                <a:off x="3793305" y="341436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79" name="Ovale 3078">
                <a:extLst>
                  <a:ext uri="{FF2B5EF4-FFF2-40B4-BE49-F238E27FC236}">
                    <a16:creationId xmlns="" xmlns:a16="http://schemas.microsoft.com/office/drawing/2014/main" id="{67AA73D7-557E-4CAB-8595-7DF69A14C8A9}"/>
                  </a:ext>
                </a:extLst>
              </p:cNvPr>
              <p:cNvSpPr/>
              <p:nvPr/>
            </p:nvSpPr>
            <p:spPr bwMode="auto">
              <a:xfrm>
                <a:off x="4151445" y="341436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0" name="Ovale 3079">
                <a:extLst>
                  <a:ext uri="{FF2B5EF4-FFF2-40B4-BE49-F238E27FC236}">
                    <a16:creationId xmlns="" xmlns:a16="http://schemas.microsoft.com/office/drawing/2014/main" id="{404C8BAE-64A5-4474-8922-249A1209E16E}"/>
                  </a:ext>
                </a:extLst>
              </p:cNvPr>
              <p:cNvSpPr/>
              <p:nvPr/>
            </p:nvSpPr>
            <p:spPr bwMode="auto">
              <a:xfrm>
                <a:off x="3762714" y="3497950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1" name="Ovale 3080">
                <a:extLst>
                  <a:ext uri="{FF2B5EF4-FFF2-40B4-BE49-F238E27FC236}">
                    <a16:creationId xmlns="" xmlns:a16="http://schemas.microsoft.com/office/drawing/2014/main" id="{E5B4E413-F149-49D2-ABAD-2B07E6BD97B5}"/>
                  </a:ext>
                </a:extLst>
              </p:cNvPr>
              <p:cNvSpPr/>
              <p:nvPr/>
            </p:nvSpPr>
            <p:spPr bwMode="auto">
              <a:xfrm>
                <a:off x="3790235" y="3803666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2" name="Ovale 3081">
                <a:extLst>
                  <a:ext uri="{FF2B5EF4-FFF2-40B4-BE49-F238E27FC236}">
                    <a16:creationId xmlns="" xmlns:a16="http://schemas.microsoft.com/office/drawing/2014/main" id="{2A927909-5C60-45B4-8610-3BD621AEF967}"/>
                  </a:ext>
                </a:extLst>
              </p:cNvPr>
              <p:cNvSpPr/>
              <p:nvPr/>
            </p:nvSpPr>
            <p:spPr bwMode="auto">
              <a:xfrm>
                <a:off x="4174305" y="385632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3" name="Ovale 3082">
                <a:extLst>
                  <a:ext uri="{FF2B5EF4-FFF2-40B4-BE49-F238E27FC236}">
                    <a16:creationId xmlns="" xmlns:a16="http://schemas.microsoft.com/office/drawing/2014/main" id="{E237A045-E0DE-4B94-84AE-F6816C5CCC00}"/>
                  </a:ext>
                </a:extLst>
              </p:cNvPr>
              <p:cNvSpPr/>
              <p:nvPr/>
            </p:nvSpPr>
            <p:spPr bwMode="auto">
              <a:xfrm>
                <a:off x="4280985" y="394776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4" name="Ovale 3083">
                <a:extLst>
                  <a:ext uri="{FF2B5EF4-FFF2-40B4-BE49-F238E27FC236}">
                    <a16:creationId xmlns="" xmlns:a16="http://schemas.microsoft.com/office/drawing/2014/main" id="{8D033955-9F7D-43E0-8886-53CCC56D3DBD}"/>
                  </a:ext>
                </a:extLst>
              </p:cNvPr>
              <p:cNvSpPr/>
              <p:nvPr/>
            </p:nvSpPr>
            <p:spPr bwMode="auto">
              <a:xfrm>
                <a:off x="4349565" y="397062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5" name="Ovale 3084">
                <a:extLst>
                  <a:ext uri="{FF2B5EF4-FFF2-40B4-BE49-F238E27FC236}">
                    <a16:creationId xmlns="" xmlns:a16="http://schemas.microsoft.com/office/drawing/2014/main" id="{D0EB9C9A-9822-4551-89FD-40D56B67851F}"/>
                  </a:ext>
                </a:extLst>
              </p:cNvPr>
              <p:cNvSpPr/>
              <p:nvPr/>
            </p:nvSpPr>
            <p:spPr bwMode="auto">
              <a:xfrm>
                <a:off x="927882" y="4991036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6" name="Ovale 3085">
                <a:extLst>
                  <a:ext uri="{FF2B5EF4-FFF2-40B4-BE49-F238E27FC236}">
                    <a16:creationId xmlns="" xmlns:a16="http://schemas.microsoft.com/office/drawing/2014/main" id="{40D09FA6-1F6E-465D-8667-978B2A2582AD}"/>
                  </a:ext>
                </a:extLst>
              </p:cNvPr>
              <p:cNvSpPr/>
              <p:nvPr/>
            </p:nvSpPr>
            <p:spPr bwMode="auto">
              <a:xfrm>
                <a:off x="4410525" y="39553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7" name="Ovale 3086">
                <a:extLst>
                  <a:ext uri="{FF2B5EF4-FFF2-40B4-BE49-F238E27FC236}">
                    <a16:creationId xmlns="" xmlns:a16="http://schemas.microsoft.com/office/drawing/2014/main" id="{C8BD1018-1EED-409D-82AE-7176810D58EF}"/>
                  </a:ext>
                </a:extLst>
              </p:cNvPr>
              <p:cNvSpPr/>
              <p:nvPr/>
            </p:nvSpPr>
            <p:spPr bwMode="auto">
              <a:xfrm>
                <a:off x="4410525" y="340674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8" name="Ovale 3087">
                <a:extLst>
                  <a:ext uri="{FF2B5EF4-FFF2-40B4-BE49-F238E27FC236}">
                    <a16:creationId xmlns="" xmlns:a16="http://schemas.microsoft.com/office/drawing/2014/main" id="{A314F22D-F987-4BA1-B8E8-532878D9EDDC}"/>
                  </a:ext>
                </a:extLst>
              </p:cNvPr>
              <p:cNvSpPr/>
              <p:nvPr/>
            </p:nvSpPr>
            <p:spPr bwMode="auto">
              <a:xfrm>
                <a:off x="3393894" y="3704433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89" name="Ovale 3088">
                <a:extLst>
                  <a:ext uri="{FF2B5EF4-FFF2-40B4-BE49-F238E27FC236}">
                    <a16:creationId xmlns="" xmlns:a16="http://schemas.microsoft.com/office/drawing/2014/main" id="{C47BECE3-FBF8-4D25-AB4B-A5F8A7B8B14B}"/>
                  </a:ext>
                </a:extLst>
              </p:cNvPr>
              <p:cNvSpPr/>
              <p:nvPr/>
            </p:nvSpPr>
            <p:spPr bwMode="auto">
              <a:xfrm>
                <a:off x="3236202" y="37016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0" name="Ovale 3089">
                <a:extLst>
                  <a:ext uri="{FF2B5EF4-FFF2-40B4-BE49-F238E27FC236}">
                    <a16:creationId xmlns="" xmlns:a16="http://schemas.microsoft.com/office/drawing/2014/main" id="{C5B0A6FA-446D-4929-A7C4-DF3923AC3EE9}"/>
                  </a:ext>
                </a:extLst>
              </p:cNvPr>
              <p:cNvSpPr/>
              <p:nvPr/>
            </p:nvSpPr>
            <p:spPr bwMode="auto">
              <a:xfrm>
                <a:off x="3145605" y="370392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1" name="Ovale 3090">
                <a:extLst>
                  <a:ext uri="{FF2B5EF4-FFF2-40B4-BE49-F238E27FC236}">
                    <a16:creationId xmlns="" xmlns:a16="http://schemas.microsoft.com/office/drawing/2014/main" id="{0D659CE4-1E6C-40FC-AF79-2DEC1AADE32A}"/>
                  </a:ext>
                </a:extLst>
              </p:cNvPr>
              <p:cNvSpPr/>
              <p:nvPr/>
            </p:nvSpPr>
            <p:spPr bwMode="auto">
              <a:xfrm>
                <a:off x="3022953" y="372889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2" name="Ovale 3091">
                <a:extLst>
                  <a:ext uri="{FF2B5EF4-FFF2-40B4-BE49-F238E27FC236}">
                    <a16:creationId xmlns="" xmlns:a16="http://schemas.microsoft.com/office/drawing/2014/main" id="{12D2C847-E8C7-46B1-916E-E2241800C421}"/>
                  </a:ext>
                </a:extLst>
              </p:cNvPr>
              <p:cNvSpPr/>
              <p:nvPr/>
            </p:nvSpPr>
            <p:spPr bwMode="auto">
              <a:xfrm>
                <a:off x="3023685" y="367344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3" name="Ovale 3092">
                <a:extLst>
                  <a:ext uri="{FF2B5EF4-FFF2-40B4-BE49-F238E27FC236}">
                    <a16:creationId xmlns="" xmlns:a16="http://schemas.microsoft.com/office/drawing/2014/main" id="{1906C8FA-A932-465A-A196-ED5D6AFB784C}"/>
                  </a:ext>
                </a:extLst>
              </p:cNvPr>
              <p:cNvSpPr/>
              <p:nvPr/>
            </p:nvSpPr>
            <p:spPr bwMode="auto">
              <a:xfrm>
                <a:off x="2414085" y="392490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4" name="Ovale 3093">
                <a:extLst>
                  <a:ext uri="{FF2B5EF4-FFF2-40B4-BE49-F238E27FC236}">
                    <a16:creationId xmlns="" xmlns:a16="http://schemas.microsoft.com/office/drawing/2014/main" id="{FD74D1E1-AD40-44E3-8F17-F527D4889640}"/>
                  </a:ext>
                </a:extLst>
              </p:cNvPr>
              <p:cNvSpPr/>
              <p:nvPr/>
            </p:nvSpPr>
            <p:spPr bwMode="auto">
              <a:xfrm>
                <a:off x="2421705" y="400110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5" name="Ovale 3094">
                <a:extLst>
                  <a:ext uri="{FF2B5EF4-FFF2-40B4-BE49-F238E27FC236}">
                    <a16:creationId xmlns="" xmlns:a16="http://schemas.microsoft.com/office/drawing/2014/main" id="{783A7280-6894-41A1-BB87-F93640F2D38E}"/>
                  </a:ext>
                </a:extLst>
              </p:cNvPr>
              <p:cNvSpPr/>
              <p:nvPr/>
            </p:nvSpPr>
            <p:spPr bwMode="auto">
              <a:xfrm>
                <a:off x="2452185" y="407730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6" name="Ovale 3095">
                <a:extLst>
                  <a:ext uri="{FF2B5EF4-FFF2-40B4-BE49-F238E27FC236}">
                    <a16:creationId xmlns="" xmlns:a16="http://schemas.microsoft.com/office/drawing/2014/main" id="{4B3C5FF4-432C-4A67-BB2D-58448336E812}"/>
                  </a:ext>
                </a:extLst>
              </p:cNvPr>
              <p:cNvSpPr/>
              <p:nvPr/>
            </p:nvSpPr>
            <p:spPr bwMode="auto">
              <a:xfrm>
                <a:off x="2429325" y="41839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7" name="Ovale 3096">
                <a:extLst>
                  <a:ext uri="{FF2B5EF4-FFF2-40B4-BE49-F238E27FC236}">
                    <a16:creationId xmlns="" xmlns:a16="http://schemas.microsoft.com/office/drawing/2014/main" id="{67E957BD-AEC4-4895-A699-E9685623EF85}"/>
                  </a:ext>
                </a:extLst>
              </p:cNvPr>
              <p:cNvSpPr/>
              <p:nvPr/>
            </p:nvSpPr>
            <p:spPr bwMode="auto">
              <a:xfrm>
                <a:off x="2795085" y="440831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8" name="Ovale 3097">
                <a:extLst>
                  <a:ext uri="{FF2B5EF4-FFF2-40B4-BE49-F238E27FC236}">
                    <a16:creationId xmlns="" xmlns:a16="http://schemas.microsoft.com/office/drawing/2014/main" id="{92FD3D6F-F7EA-41D1-ACAA-0D1794E76284}"/>
                  </a:ext>
                </a:extLst>
              </p:cNvPr>
              <p:cNvSpPr/>
              <p:nvPr/>
            </p:nvSpPr>
            <p:spPr bwMode="auto">
              <a:xfrm>
                <a:off x="2952247" y="451784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99" name="Ovale 3098">
                <a:extLst>
                  <a:ext uri="{FF2B5EF4-FFF2-40B4-BE49-F238E27FC236}">
                    <a16:creationId xmlns="" xmlns:a16="http://schemas.microsoft.com/office/drawing/2014/main" id="{168A119F-0FED-4BD1-93DE-C47D2C96FB2F}"/>
                  </a:ext>
                </a:extLst>
              </p:cNvPr>
              <p:cNvSpPr/>
              <p:nvPr/>
            </p:nvSpPr>
            <p:spPr bwMode="auto">
              <a:xfrm>
                <a:off x="3123697" y="45845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0" name="Ovale 3099">
                <a:extLst>
                  <a:ext uri="{FF2B5EF4-FFF2-40B4-BE49-F238E27FC236}">
                    <a16:creationId xmlns="" xmlns:a16="http://schemas.microsoft.com/office/drawing/2014/main" id="{92BB2CFC-B576-4748-8E04-94BA4482632F}"/>
                  </a:ext>
                </a:extLst>
              </p:cNvPr>
              <p:cNvSpPr/>
              <p:nvPr/>
            </p:nvSpPr>
            <p:spPr bwMode="auto">
              <a:xfrm>
                <a:off x="2661735" y="4560711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1" name="Ovale 3100">
                <a:extLst>
                  <a:ext uri="{FF2B5EF4-FFF2-40B4-BE49-F238E27FC236}">
                    <a16:creationId xmlns="" xmlns:a16="http://schemas.microsoft.com/office/drawing/2014/main" id="{21EAA531-346E-45FB-AF35-056EB0584BD6}"/>
                  </a:ext>
                </a:extLst>
              </p:cNvPr>
              <p:cNvSpPr/>
              <p:nvPr/>
            </p:nvSpPr>
            <p:spPr bwMode="auto">
              <a:xfrm>
                <a:off x="2537910" y="4646436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2" name="Ovale 3101">
                <a:extLst>
                  <a:ext uri="{FF2B5EF4-FFF2-40B4-BE49-F238E27FC236}">
                    <a16:creationId xmlns="" xmlns:a16="http://schemas.microsoft.com/office/drawing/2014/main" id="{D24EBEB7-43EE-4C1D-B3C9-BEBF461F2BAC}"/>
                  </a:ext>
                </a:extLst>
              </p:cNvPr>
              <p:cNvSpPr/>
              <p:nvPr/>
            </p:nvSpPr>
            <p:spPr bwMode="auto">
              <a:xfrm>
                <a:off x="2409323" y="46607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3" name="Ovale 3102">
                <a:extLst>
                  <a:ext uri="{FF2B5EF4-FFF2-40B4-BE49-F238E27FC236}">
                    <a16:creationId xmlns="" xmlns:a16="http://schemas.microsoft.com/office/drawing/2014/main" id="{CA6E9AE8-B8A2-4CE1-8A0E-6A369BF5E57C}"/>
                  </a:ext>
                </a:extLst>
              </p:cNvPr>
              <p:cNvSpPr/>
              <p:nvPr/>
            </p:nvSpPr>
            <p:spPr bwMode="auto">
              <a:xfrm>
                <a:off x="2180723" y="47369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4" name="Ovale 3103">
                <a:extLst>
                  <a:ext uri="{FF2B5EF4-FFF2-40B4-BE49-F238E27FC236}">
                    <a16:creationId xmlns="" xmlns:a16="http://schemas.microsoft.com/office/drawing/2014/main" id="{EE51FF75-CC4E-4439-B852-F1AAAE218AB5}"/>
                  </a:ext>
                </a:extLst>
              </p:cNvPr>
              <p:cNvSpPr/>
              <p:nvPr/>
            </p:nvSpPr>
            <p:spPr bwMode="auto">
              <a:xfrm>
                <a:off x="2123573" y="45892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5" name="Ovale 3104">
                <a:extLst>
                  <a:ext uri="{FF2B5EF4-FFF2-40B4-BE49-F238E27FC236}">
                    <a16:creationId xmlns="" xmlns:a16="http://schemas.microsoft.com/office/drawing/2014/main" id="{DE5185D1-BA1E-491A-A094-A1EA4F0D69A4}"/>
                  </a:ext>
                </a:extLst>
              </p:cNvPr>
              <p:cNvSpPr/>
              <p:nvPr/>
            </p:nvSpPr>
            <p:spPr bwMode="auto">
              <a:xfrm>
                <a:off x="2085473" y="4470225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6" name="Ovale 3105">
                <a:extLst>
                  <a:ext uri="{FF2B5EF4-FFF2-40B4-BE49-F238E27FC236}">
                    <a16:creationId xmlns="" xmlns:a16="http://schemas.microsoft.com/office/drawing/2014/main" id="{EEDE597B-D813-4DD4-9E97-56A9C7B80972}"/>
                  </a:ext>
                </a:extLst>
              </p:cNvPr>
              <p:cNvSpPr/>
              <p:nvPr/>
            </p:nvSpPr>
            <p:spPr bwMode="auto">
              <a:xfrm>
                <a:off x="2028323" y="449403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7" name="Ovale 3106">
                <a:extLst>
                  <a:ext uri="{FF2B5EF4-FFF2-40B4-BE49-F238E27FC236}">
                    <a16:creationId xmlns="" xmlns:a16="http://schemas.microsoft.com/office/drawing/2014/main" id="{A9D2A6E5-CB34-455A-A724-802F3C22AF82}"/>
                  </a:ext>
                </a:extLst>
              </p:cNvPr>
              <p:cNvSpPr/>
              <p:nvPr/>
            </p:nvSpPr>
            <p:spPr bwMode="auto">
              <a:xfrm>
                <a:off x="685297" y="4989336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8" name="Ovale 3107">
                <a:extLst>
                  <a:ext uri="{FF2B5EF4-FFF2-40B4-BE49-F238E27FC236}">
                    <a16:creationId xmlns="" xmlns:a16="http://schemas.microsoft.com/office/drawing/2014/main" id="{CE2AF152-EF2A-4DD1-A40B-C9C2819142EA}"/>
                  </a:ext>
                </a:extLst>
              </p:cNvPr>
              <p:cNvSpPr/>
              <p:nvPr/>
            </p:nvSpPr>
            <p:spPr bwMode="auto">
              <a:xfrm>
                <a:off x="709109" y="510839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09" name="Ovale 3108">
                <a:extLst>
                  <a:ext uri="{FF2B5EF4-FFF2-40B4-BE49-F238E27FC236}">
                    <a16:creationId xmlns="" xmlns:a16="http://schemas.microsoft.com/office/drawing/2014/main" id="{00C3BAD5-4AB6-42A4-83F4-6C5E3A2654B0}"/>
                  </a:ext>
                </a:extLst>
              </p:cNvPr>
              <p:cNvSpPr/>
              <p:nvPr/>
            </p:nvSpPr>
            <p:spPr bwMode="auto">
              <a:xfrm>
                <a:off x="826585" y="487979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0" name="Ovale 3109">
                <a:extLst>
                  <a:ext uri="{FF2B5EF4-FFF2-40B4-BE49-F238E27FC236}">
                    <a16:creationId xmlns="" xmlns:a16="http://schemas.microsoft.com/office/drawing/2014/main" id="{774CFD4B-50C4-4F37-9A2D-C6027A14B6E1}"/>
                  </a:ext>
                </a:extLst>
              </p:cNvPr>
              <p:cNvSpPr/>
              <p:nvPr/>
            </p:nvSpPr>
            <p:spPr bwMode="auto">
              <a:xfrm>
                <a:off x="709109" y="524174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1" name="Ovale 3110">
                <a:extLst>
                  <a:ext uri="{FF2B5EF4-FFF2-40B4-BE49-F238E27FC236}">
                    <a16:creationId xmlns="" xmlns:a16="http://schemas.microsoft.com/office/drawing/2014/main" id="{0805AFA1-C4B6-425D-A1C4-5E69F173FDD6}"/>
                  </a:ext>
                </a:extLst>
              </p:cNvPr>
              <p:cNvSpPr/>
              <p:nvPr/>
            </p:nvSpPr>
            <p:spPr bwMode="auto">
              <a:xfrm>
                <a:off x="842459" y="385109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2" name="Ovale 3111">
                <a:extLst>
                  <a:ext uri="{FF2B5EF4-FFF2-40B4-BE49-F238E27FC236}">
                    <a16:creationId xmlns="" xmlns:a16="http://schemas.microsoft.com/office/drawing/2014/main" id="{A069D828-C88E-438B-87DB-C421B95E4498}"/>
                  </a:ext>
                </a:extLst>
              </p:cNvPr>
              <p:cNvSpPr/>
              <p:nvPr/>
            </p:nvSpPr>
            <p:spPr bwMode="auto">
              <a:xfrm>
                <a:off x="756734" y="387014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3" name="Ovale 3112">
                <a:extLst>
                  <a:ext uri="{FF2B5EF4-FFF2-40B4-BE49-F238E27FC236}">
                    <a16:creationId xmlns="" xmlns:a16="http://schemas.microsoft.com/office/drawing/2014/main" id="{8827630C-59E6-4FD5-A7D1-E8A1DD92AC16}"/>
                  </a:ext>
                </a:extLst>
              </p:cNvPr>
              <p:cNvSpPr/>
              <p:nvPr/>
            </p:nvSpPr>
            <p:spPr bwMode="auto">
              <a:xfrm>
                <a:off x="947234" y="368441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4" name="Ovale 3113">
                <a:extLst>
                  <a:ext uri="{FF2B5EF4-FFF2-40B4-BE49-F238E27FC236}">
                    <a16:creationId xmlns="" xmlns:a16="http://schemas.microsoft.com/office/drawing/2014/main" id="{F2D463E3-88B7-4CDF-87DF-8F8DC58633F5}"/>
                  </a:ext>
                </a:extLst>
              </p:cNvPr>
              <p:cNvSpPr/>
              <p:nvPr/>
            </p:nvSpPr>
            <p:spPr bwMode="auto">
              <a:xfrm>
                <a:off x="1271084" y="377013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5" name="Ovale 3114">
                <a:extLst>
                  <a:ext uri="{FF2B5EF4-FFF2-40B4-BE49-F238E27FC236}">
                    <a16:creationId xmlns="" xmlns:a16="http://schemas.microsoft.com/office/drawing/2014/main" id="{8D8A31BF-042B-4109-BC8F-6A6B6FE3BB93}"/>
                  </a:ext>
                </a:extLst>
              </p:cNvPr>
              <p:cNvSpPr/>
              <p:nvPr/>
            </p:nvSpPr>
            <p:spPr bwMode="auto">
              <a:xfrm>
                <a:off x="1409197" y="37510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6" name="Ovale 3115">
                <a:extLst>
                  <a:ext uri="{FF2B5EF4-FFF2-40B4-BE49-F238E27FC236}">
                    <a16:creationId xmlns="" xmlns:a16="http://schemas.microsoft.com/office/drawing/2014/main" id="{03025DEB-556D-4233-918B-2B11D92BFED5}"/>
                  </a:ext>
                </a:extLst>
              </p:cNvPr>
              <p:cNvSpPr/>
              <p:nvPr/>
            </p:nvSpPr>
            <p:spPr bwMode="auto">
              <a:xfrm>
                <a:off x="909135" y="337961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7" name="Ovale 3116">
                <a:extLst>
                  <a:ext uri="{FF2B5EF4-FFF2-40B4-BE49-F238E27FC236}">
                    <a16:creationId xmlns="" xmlns:a16="http://schemas.microsoft.com/office/drawing/2014/main" id="{AD8AD75D-4141-47E5-A57A-E15F3CBF4335}"/>
                  </a:ext>
                </a:extLst>
              </p:cNvPr>
              <p:cNvSpPr/>
              <p:nvPr/>
            </p:nvSpPr>
            <p:spPr bwMode="auto">
              <a:xfrm>
                <a:off x="804360" y="334151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8" name="Ovale 3117">
                <a:extLst>
                  <a:ext uri="{FF2B5EF4-FFF2-40B4-BE49-F238E27FC236}">
                    <a16:creationId xmlns="" xmlns:a16="http://schemas.microsoft.com/office/drawing/2014/main" id="{00AF82EB-44AE-4B9D-9C84-829C86869432}"/>
                  </a:ext>
                </a:extLst>
              </p:cNvPr>
              <p:cNvSpPr/>
              <p:nvPr/>
            </p:nvSpPr>
            <p:spPr bwMode="auto">
              <a:xfrm>
                <a:off x="709110" y="33700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19" name="Ovale 3118">
                <a:extLst>
                  <a:ext uri="{FF2B5EF4-FFF2-40B4-BE49-F238E27FC236}">
                    <a16:creationId xmlns="" xmlns:a16="http://schemas.microsoft.com/office/drawing/2014/main" id="{05E7B03E-E84C-4902-8E79-7D3D5AC5CEAC}"/>
                  </a:ext>
                </a:extLst>
              </p:cNvPr>
              <p:cNvSpPr/>
              <p:nvPr/>
            </p:nvSpPr>
            <p:spPr bwMode="auto">
              <a:xfrm>
                <a:off x="866272" y="34986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0" name="Ovale 3119">
                <a:extLst>
                  <a:ext uri="{FF2B5EF4-FFF2-40B4-BE49-F238E27FC236}">
                    <a16:creationId xmlns="" xmlns:a16="http://schemas.microsoft.com/office/drawing/2014/main" id="{DAAB6F64-65B4-4DC6-8076-D3FC2C25AC80}"/>
                  </a:ext>
                </a:extLst>
              </p:cNvPr>
              <p:cNvSpPr/>
              <p:nvPr/>
            </p:nvSpPr>
            <p:spPr bwMode="auto">
              <a:xfrm>
                <a:off x="1071060" y="360821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1" name="Ovale 3120">
                <a:extLst>
                  <a:ext uri="{FF2B5EF4-FFF2-40B4-BE49-F238E27FC236}">
                    <a16:creationId xmlns="" xmlns:a16="http://schemas.microsoft.com/office/drawing/2014/main" id="{9482F5BF-0155-489D-8E8A-FD8E0ED3DEEF}"/>
                  </a:ext>
                </a:extLst>
              </p:cNvPr>
              <p:cNvSpPr/>
              <p:nvPr/>
            </p:nvSpPr>
            <p:spPr bwMode="auto">
              <a:xfrm>
                <a:off x="890085" y="2641425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2" name="Ovale 3121">
                <a:extLst>
                  <a:ext uri="{FF2B5EF4-FFF2-40B4-BE49-F238E27FC236}">
                    <a16:creationId xmlns="" xmlns:a16="http://schemas.microsoft.com/office/drawing/2014/main" id="{CB95B915-BBCC-4B44-B93D-621E47CBC2A6}"/>
                  </a:ext>
                </a:extLst>
              </p:cNvPr>
              <p:cNvSpPr/>
              <p:nvPr/>
            </p:nvSpPr>
            <p:spPr bwMode="auto">
              <a:xfrm>
                <a:off x="799598" y="25699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3" name="Ovale 3122">
                <a:extLst>
                  <a:ext uri="{FF2B5EF4-FFF2-40B4-BE49-F238E27FC236}">
                    <a16:creationId xmlns="" xmlns:a16="http://schemas.microsoft.com/office/drawing/2014/main" id="{DBCF1089-0570-4668-A9E7-A009C2D7CF1C}"/>
                  </a:ext>
                </a:extLst>
              </p:cNvPr>
              <p:cNvSpPr/>
              <p:nvPr/>
            </p:nvSpPr>
            <p:spPr bwMode="auto">
              <a:xfrm>
                <a:off x="647198" y="248426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4" name="Ovale 3123">
                <a:extLst>
                  <a:ext uri="{FF2B5EF4-FFF2-40B4-BE49-F238E27FC236}">
                    <a16:creationId xmlns="" xmlns:a16="http://schemas.microsoft.com/office/drawing/2014/main" id="{941F71D1-1E6E-44DA-AC92-2FF1F6839898}"/>
                  </a:ext>
                </a:extLst>
              </p:cNvPr>
              <p:cNvSpPr/>
              <p:nvPr/>
            </p:nvSpPr>
            <p:spPr bwMode="auto">
              <a:xfrm>
                <a:off x="980573" y="232709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5" name="Ovale 3124">
                <a:extLst>
                  <a:ext uri="{FF2B5EF4-FFF2-40B4-BE49-F238E27FC236}">
                    <a16:creationId xmlns="" xmlns:a16="http://schemas.microsoft.com/office/drawing/2014/main" id="{166C21A6-B0EF-48D6-9DF4-F575EE2796DE}"/>
                  </a:ext>
                </a:extLst>
              </p:cNvPr>
              <p:cNvSpPr/>
              <p:nvPr/>
            </p:nvSpPr>
            <p:spPr bwMode="auto">
              <a:xfrm>
                <a:off x="990098" y="25842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6" name="Ovale 3125">
                <a:extLst>
                  <a:ext uri="{FF2B5EF4-FFF2-40B4-BE49-F238E27FC236}">
                    <a16:creationId xmlns="" xmlns:a16="http://schemas.microsoft.com/office/drawing/2014/main" id="{63300E28-6128-41BA-A06E-F9078B029C12}"/>
                  </a:ext>
                </a:extLst>
              </p:cNvPr>
              <p:cNvSpPr/>
              <p:nvPr/>
            </p:nvSpPr>
            <p:spPr bwMode="auto">
              <a:xfrm>
                <a:off x="780548" y="23556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7" name="Ovale 3126">
                <a:extLst>
                  <a:ext uri="{FF2B5EF4-FFF2-40B4-BE49-F238E27FC236}">
                    <a16:creationId xmlns="" xmlns:a16="http://schemas.microsoft.com/office/drawing/2014/main" id="{5225DC93-C44E-4B71-84C0-2800E093735F}"/>
                  </a:ext>
                </a:extLst>
              </p:cNvPr>
              <p:cNvSpPr/>
              <p:nvPr/>
            </p:nvSpPr>
            <p:spPr bwMode="auto">
              <a:xfrm>
                <a:off x="615448" y="22159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8" name="Ovale 3127">
                <a:extLst>
                  <a:ext uri="{FF2B5EF4-FFF2-40B4-BE49-F238E27FC236}">
                    <a16:creationId xmlns="" xmlns:a16="http://schemas.microsoft.com/office/drawing/2014/main" id="{4974D057-45CB-47C0-B246-F209CACDC91B}"/>
                  </a:ext>
                </a:extLst>
              </p:cNvPr>
              <p:cNvSpPr/>
              <p:nvPr/>
            </p:nvSpPr>
            <p:spPr bwMode="auto">
              <a:xfrm>
                <a:off x="469398" y="22032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29" name="Ovale 3128">
                <a:extLst>
                  <a:ext uri="{FF2B5EF4-FFF2-40B4-BE49-F238E27FC236}">
                    <a16:creationId xmlns="" xmlns:a16="http://schemas.microsoft.com/office/drawing/2014/main" id="{FAC42553-5113-4A98-9B0F-9414146FC2AE}"/>
                  </a:ext>
                </a:extLst>
              </p:cNvPr>
              <p:cNvSpPr/>
              <p:nvPr/>
            </p:nvSpPr>
            <p:spPr bwMode="auto">
              <a:xfrm>
                <a:off x="1212348" y="17841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0" name="Ovale 3129">
                <a:extLst>
                  <a:ext uri="{FF2B5EF4-FFF2-40B4-BE49-F238E27FC236}">
                    <a16:creationId xmlns="" xmlns:a16="http://schemas.microsoft.com/office/drawing/2014/main" id="{379FBFC5-2317-4DA6-A687-AC638A94D5CE}"/>
                  </a:ext>
                </a:extLst>
              </p:cNvPr>
              <p:cNvSpPr/>
              <p:nvPr/>
            </p:nvSpPr>
            <p:spPr bwMode="auto">
              <a:xfrm>
                <a:off x="1244098" y="19175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1" name="Ovale 3130">
                <a:extLst>
                  <a:ext uri="{FF2B5EF4-FFF2-40B4-BE49-F238E27FC236}">
                    <a16:creationId xmlns="" xmlns:a16="http://schemas.microsoft.com/office/drawing/2014/main" id="{E58949ED-AFC9-47F4-A80B-EA774E32AD96}"/>
                  </a:ext>
                </a:extLst>
              </p:cNvPr>
              <p:cNvSpPr/>
              <p:nvPr/>
            </p:nvSpPr>
            <p:spPr bwMode="auto">
              <a:xfrm>
                <a:off x="1472698" y="22159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2" name="Ovale 3131">
                <a:extLst>
                  <a:ext uri="{FF2B5EF4-FFF2-40B4-BE49-F238E27FC236}">
                    <a16:creationId xmlns="" xmlns:a16="http://schemas.microsoft.com/office/drawing/2014/main" id="{7C0752C8-E52D-4B31-B51C-EC7B77D95AFF}"/>
                  </a:ext>
                </a:extLst>
              </p:cNvPr>
              <p:cNvSpPr/>
              <p:nvPr/>
            </p:nvSpPr>
            <p:spPr bwMode="auto">
              <a:xfrm>
                <a:off x="1529848" y="22413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3" name="Ovale 3132">
                <a:extLst>
                  <a:ext uri="{FF2B5EF4-FFF2-40B4-BE49-F238E27FC236}">
                    <a16:creationId xmlns="" xmlns:a16="http://schemas.microsoft.com/office/drawing/2014/main" id="{D0E4CE59-A8D4-4A83-A072-E98EAC825AEB}"/>
                  </a:ext>
                </a:extLst>
              </p:cNvPr>
              <p:cNvSpPr/>
              <p:nvPr/>
            </p:nvSpPr>
            <p:spPr bwMode="auto">
              <a:xfrm>
                <a:off x="1593348" y="23556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4" name="Ovale 3133">
                <a:extLst>
                  <a:ext uri="{FF2B5EF4-FFF2-40B4-BE49-F238E27FC236}">
                    <a16:creationId xmlns="" xmlns:a16="http://schemas.microsoft.com/office/drawing/2014/main" id="{AACDE0CF-5A26-4C3E-A444-80A5E2EEFE67}"/>
                  </a:ext>
                </a:extLst>
              </p:cNvPr>
              <p:cNvSpPr/>
              <p:nvPr/>
            </p:nvSpPr>
            <p:spPr bwMode="auto">
              <a:xfrm>
                <a:off x="1764798" y="24128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5" name="Ovale 3134">
                <a:extLst>
                  <a:ext uri="{FF2B5EF4-FFF2-40B4-BE49-F238E27FC236}">
                    <a16:creationId xmlns="" xmlns:a16="http://schemas.microsoft.com/office/drawing/2014/main" id="{B1B5E428-BFD6-4086-8231-A4FD8B11D9A6}"/>
                  </a:ext>
                </a:extLst>
              </p:cNvPr>
              <p:cNvSpPr/>
              <p:nvPr/>
            </p:nvSpPr>
            <p:spPr bwMode="auto">
              <a:xfrm>
                <a:off x="1936248" y="240012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6" name="Ovale 3135">
                <a:extLst>
                  <a:ext uri="{FF2B5EF4-FFF2-40B4-BE49-F238E27FC236}">
                    <a16:creationId xmlns="" xmlns:a16="http://schemas.microsoft.com/office/drawing/2014/main" id="{AF4EF339-20DD-4970-8DD1-4509565133A7}"/>
                  </a:ext>
                </a:extLst>
              </p:cNvPr>
              <p:cNvSpPr/>
              <p:nvPr/>
            </p:nvSpPr>
            <p:spPr bwMode="auto">
              <a:xfrm>
                <a:off x="2012448" y="22794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7" name="Ovale 3136">
                <a:extLst>
                  <a:ext uri="{FF2B5EF4-FFF2-40B4-BE49-F238E27FC236}">
                    <a16:creationId xmlns="" xmlns:a16="http://schemas.microsoft.com/office/drawing/2014/main" id="{2914EC55-5C1D-4ED1-9C37-4167EAE4601B}"/>
                  </a:ext>
                </a:extLst>
              </p:cNvPr>
              <p:cNvSpPr/>
              <p:nvPr/>
            </p:nvSpPr>
            <p:spPr bwMode="auto">
              <a:xfrm>
                <a:off x="1936248" y="22480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8" name="Ovale 3137">
                <a:extLst>
                  <a:ext uri="{FF2B5EF4-FFF2-40B4-BE49-F238E27FC236}">
                    <a16:creationId xmlns="" xmlns:a16="http://schemas.microsoft.com/office/drawing/2014/main" id="{81FED0E8-D643-433B-B14E-70249276D7E0}"/>
                  </a:ext>
                </a:extLst>
              </p:cNvPr>
              <p:cNvSpPr/>
              <p:nvPr/>
            </p:nvSpPr>
            <p:spPr bwMode="auto">
              <a:xfrm>
                <a:off x="2304548" y="22163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39" name="Ovale 3138">
                <a:extLst>
                  <a:ext uri="{FF2B5EF4-FFF2-40B4-BE49-F238E27FC236}">
                    <a16:creationId xmlns="" xmlns:a16="http://schemas.microsoft.com/office/drawing/2014/main" id="{417B791B-2F02-4F15-9DA4-46C3A19F8564}"/>
                  </a:ext>
                </a:extLst>
              </p:cNvPr>
              <p:cNvSpPr/>
              <p:nvPr/>
            </p:nvSpPr>
            <p:spPr bwMode="auto">
              <a:xfrm>
                <a:off x="2374398" y="23623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0" name="Ovale 3139">
                <a:extLst>
                  <a:ext uri="{FF2B5EF4-FFF2-40B4-BE49-F238E27FC236}">
                    <a16:creationId xmlns="" xmlns:a16="http://schemas.microsoft.com/office/drawing/2014/main" id="{C21861B6-B960-47DC-8B0B-4BAEFEB0370E}"/>
                  </a:ext>
                </a:extLst>
              </p:cNvPr>
              <p:cNvSpPr/>
              <p:nvPr/>
            </p:nvSpPr>
            <p:spPr bwMode="auto">
              <a:xfrm>
                <a:off x="1726698" y="39625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1" name="Ovale 3140">
                <a:extLst>
                  <a:ext uri="{FF2B5EF4-FFF2-40B4-BE49-F238E27FC236}">
                    <a16:creationId xmlns="" xmlns:a16="http://schemas.microsoft.com/office/drawing/2014/main" id="{A42D6C11-DC05-4600-9CE6-8030E5F4B03C}"/>
                  </a:ext>
                </a:extLst>
              </p:cNvPr>
              <p:cNvSpPr/>
              <p:nvPr/>
            </p:nvSpPr>
            <p:spPr bwMode="auto">
              <a:xfrm>
                <a:off x="1879098" y="40070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2" name="Ovale 3141">
                <a:extLst>
                  <a:ext uri="{FF2B5EF4-FFF2-40B4-BE49-F238E27FC236}">
                    <a16:creationId xmlns="" xmlns:a16="http://schemas.microsoft.com/office/drawing/2014/main" id="{85FE7373-E8CC-46AB-95D1-E14A4CF144A3}"/>
                  </a:ext>
                </a:extLst>
              </p:cNvPr>
              <p:cNvSpPr/>
              <p:nvPr/>
            </p:nvSpPr>
            <p:spPr bwMode="auto">
              <a:xfrm>
                <a:off x="1853698" y="41022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3" name="Ovale 3142">
                <a:extLst>
                  <a:ext uri="{FF2B5EF4-FFF2-40B4-BE49-F238E27FC236}">
                    <a16:creationId xmlns="" xmlns:a16="http://schemas.microsoft.com/office/drawing/2014/main" id="{33D2565B-34BF-44BA-B81A-8DE755524D49}"/>
                  </a:ext>
                </a:extLst>
              </p:cNvPr>
              <p:cNvSpPr/>
              <p:nvPr/>
            </p:nvSpPr>
            <p:spPr bwMode="auto">
              <a:xfrm>
                <a:off x="2044198" y="40514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4" name="Ovale 3143">
                <a:extLst>
                  <a:ext uri="{FF2B5EF4-FFF2-40B4-BE49-F238E27FC236}">
                    <a16:creationId xmlns="" xmlns:a16="http://schemas.microsoft.com/office/drawing/2014/main" id="{8F6618AD-47C0-496D-A34E-B976D8FD4C5F}"/>
                  </a:ext>
                </a:extLst>
              </p:cNvPr>
              <p:cNvSpPr/>
              <p:nvPr/>
            </p:nvSpPr>
            <p:spPr bwMode="auto">
              <a:xfrm>
                <a:off x="2145798" y="40006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5" name="Ovale 3144">
                <a:extLst>
                  <a:ext uri="{FF2B5EF4-FFF2-40B4-BE49-F238E27FC236}">
                    <a16:creationId xmlns="" xmlns:a16="http://schemas.microsoft.com/office/drawing/2014/main" id="{20FAF448-EDD6-4757-B577-4B7BC3EC1593}"/>
                  </a:ext>
                </a:extLst>
              </p:cNvPr>
              <p:cNvSpPr/>
              <p:nvPr/>
            </p:nvSpPr>
            <p:spPr bwMode="auto">
              <a:xfrm>
                <a:off x="2145798" y="38736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6" name="Ovale 3145">
                <a:extLst>
                  <a:ext uri="{FF2B5EF4-FFF2-40B4-BE49-F238E27FC236}">
                    <a16:creationId xmlns="" xmlns:a16="http://schemas.microsoft.com/office/drawing/2014/main" id="{EB72D987-0D5D-4725-8507-C2FB814C495D}"/>
                  </a:ext>
                </a:extLst>
              </p:cNvPr>
              <p:cNvSpPr/>
              <p:nvPr/>
            </p:nvSpPr>
            <p:spPr bwMode="auto">
              <a:xfrm>
                <a:off x="2251424" y="362756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7" name="Ovale 3146">
                <a:extLst>
                  <a:ext uri="{FF2B5EF4-FFF2-40B4-BE49-F238E27FC236}">
                    <a16:creationId xmlns="" xmlns:a16="http://schemas.microsoft.com/office/drawing/2014/main" id="{2842FF9C-9B42-47A2-BC80-AA517E3843D8}"/>
                  </a:ext>
                </a:extLst>
              </p:cNvPr>
              <p:cNvSpPr/>
              <p:nvPr/>
            </p:nvSpPr>
            <p:spPr bwMode="auto">
              <a:xfrm>
                <a:off x="2203592" y="3629153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8" name="Ovale 3147">
                <a:extLst>
                  <a:ext uri="{FF2B5EF4-FFF2-40B4-BE49-F238E27FC236}">
                    <a16:creationId xmlns="" xmlns:a16="http://schemas.microsoft.com/office/drawing/2014/main" id="{4C444843-7157-45C7-B85B-4824BB0A1BF2}"/>
                  </a:ext>
                </a:extLst>
              </p:cNvPr>
              <p:cNvSpPr/>
              <p:nvPr/>
            </p:nvSpPr>
            <p:spPr bwMode="auto">
              <a:xfrm>
                <a:off x="2279148" y="36958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49" name="Ovale 3148">
                <a:extLst>
                  <a:ext uri="{FF2B5EF4-FFF2-40B4-BE49-F238E27FC236}">
                    <a16:creationId xmlns="" xmlns:a16="http://schemas.microsoft.com/office/drawing/2014/main" id="{346997E1-D484-4C46-BEBD-A001B35B7DCF}"/>
                  </a:ext>
                </a:extLst>
              </p:cNvPr>
              <p:cNvSpPr/>
              <p:nvPr/>
            </p:nvSpPr>
            <p:spPr bwMode="auto">
              <a:xfrm>
                <a:off x="2486157" y="3715106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0" name="Ovale 3149">
                <a:extLst>
                  <a:ext uri="{FF2B5EF4-FFF2-40B4-BE49-F238E27FC236}">
                    <a16:creationId xmlns="" xmlns:a16="http://schemas.microsoft.com/office/drawing/2014/main" id="{AF7CC98D-0C59-4DC2-9792-596CB99FEC61}"/>
                  </a:ext>
                </a:extLst>
              </p:cNvPr>
              <p:cNvSpPr/>
              <p:nvPr/>
            </p:nvSpPr>
            <p:spPr bwMode="auto">
              <a:xfrm>
                <a:off x="2395215" y="3731987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1" name="Ovale 3150">
                <a:extLst>
                  <a:ext uri="{FF2B5EF4-FFF2-40B4-BE49-F238E27FC236}">
                    <a16:creationId xmlns="" xmlns:a16="http://schemas.microsoft.com/office/drawing/2014/main" id="{9A09EF3A-D0A5-4E3E-8FF9-2B47A4312107}"/>
                  </a:ext>
                </a:extLst>
              </p:cNvPr>
              <p:cNvSpPr/>
              <p:nvPr/>
            </p:nvSpPr>
            <p:spPr bwMode="auto">
              <a:xfrm>
                <a:off x="2354552" y="3226461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2" name="Ovale 3151">
                <a:extLst>
                  <a:ext uri="{FF2B5EF4-FFF2-40B4-BE49-F238E27FC236}">
                    <a16:creationId xmlns="" xmlns:a16="http://schemas.microsoft.com/office/drawing/2014/main" id="{66083D63-AFCB-47B5-A9CE-C088FF9120D3}"/>
                  </a:ext>
                </a:extLst>
              </p:cNvPr>
              <p:cNvSpPr/>
              <p:nvPr/>
            </p:nvSpPr>
            <p:spPr bwMode="auto">
              <a:xfrm>
                <a:off x="2533148" y="32069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3" name="Ovale 3152">
                <a:extLst>
                  <a:ext uri="{FF2B5EF4-FFF2-40B4-BE49-F238E27FC236}">
                    <a16:creationId xmlns="" xmlns:a16="http://schemas.microsoft.com/office/drawing/2014/main" id="{4ECD037E-8A39-4048-B4FE-A8D26179C973}"/>
                  </a:ext>
                </a:extLst>
              </p:cNvPr>
              <p:cNvSpPr/>
              <p:nvPr/>
            </p:nvSpPr>
            <p:spPr bwMode="auto">
              <a:xfrm>
                <a:off x="2431548" y="31942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4" name="Ovale 3153">
                <a:extLst>
                  <a:ext uri="{FF2B5EF4-FFF2-40B4-BE49-F238E27FC236}">
                    <a16:creationId xmlns="" xmlns:a16="http://schemas.microsoft.com/office/drawing/2014/main" id="{DFE75206-D940-424C-9BDA-4FAA5C6C8982}"/>
                  </a:ext>
                </a:extLst>
              </p:cNvPr>
              <p:cNvSpPr/>
              <p:nvPr/>
            </p:nvSpPr>
            <p:spPr bwMode="auto">
              <a:xfrm>
                <a:off x="2651668" y="3143843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5" name="Ovale 3154">
                <a:extLst>
                  <a:ext uri="{FF2B5EF4-FFF2-40B4-BE49-F238E27FC236}">
                    <a16:creationId xmlns="" xmlns:a16="http://schemas.microsoft.com/office/drawing/2014/main" id="{496E7CE8-BAA5-4955-B037-FB01FBCE9235}"/>
                  </a:ext>
                </a:extLst>
              </p:cNvPr>
              <p:cNvSpPr/>
              <p:nvPr/>
            </p:nvSpPr>
            <p:spPr bwMode="auto">
              <a:xfrm>
                <a:off x="2676456" y="3224120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6" name="Ovale 3155">
                <a:extLst>
                  <a:ext uri="{FF2B5EF4-FFF2-40B4-BE49-F238E27FC236}">
                    <a16:creationId xmlns="" xmlns:a16="http://schemas.microsoft.com/office/drawing/2014/main" id="{4F587664-D411-451B-92B4-8520F4301763}"/>
                  </a:ext>
                </a:extLst>
              </p:cNvPr>
              <p:cNvSpPr/>
              <p:nvPr/>
            </p:nvSpPr>
            <p:spPr bwMode="auto">
              <a:xfrm>
                <a:off x="2660148" y="37339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7" name="Ovale 3156">
                <a:extLst>
                  <a:ext uri="{FF2B5EF4-FFF2-40B4-BE49-F238E27FC236}">
                    <a16:creationId xmlns="" xmlns:a16="http://schemas.microsoft.com/office/drawing/2014/main" id="{D7384B14-E1EC-4290-B443-1234907907D2}"/>
                  </a:ext>
                </a:extLst>
              </p:cNvPr>
              <p:cNvSpPr/>
              <p:nvPr/>
            </p:nvSpPr>
            <p:spPr bwMode="auto">
              <a:xfrm>
                <a:off x="2742334" y="3737031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8" name="Ovale 3157">
                <a:extLst>
                  <a:ext uri="{FF2B5EF4-FFF2-40B4-BE49-F238E27FC236}">
                    <a16:creationId xmlns="" xmlns:a16="http://schemas.microsoft.com/office/drawing/2014/main" id="{BF86950B-31B4-457B-A202-2F3D84B3D166}"/>
                  </a:ext>
                </a:extLst>
              </p:cNvPr>
              <p:cNvSpPr/>
              <p:nvPr/>
            </p:nvSpPr>
            <p:spPr bwMode="auto">
              <a:xfrm>
                <a:off x="3193548" y="43435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59" name="Ovale 3158">
                <a:extLst>
                  <a:ext uri="{FF2B5EF4-FFF2-40B4-BE49-F238E27FC236}">
                    <a16:creationId xmlns="" xmlns:a16="http://schemas.microsoft.com/office/drawing/2014/main" id="{D06650E8-5CF4-4254-B3FF-3B0571D79C52}"/>
                  </a:ext>
                </a:extLst>
              </p:cNvPr>
              <p:cNvSpPr/>
              <p:nvPr/>
            </p:nvSpPr>
            <p:spPr bwMode="auto">
              <a:xfrm>
                <a:off x="3485648" y="42927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0" name="Ovale 3159">
                <a:extLst>
                  <a:ext uri="{FF2B5EF4-FFF2-40B4-BE49-F238E27FC236}">
                    <a16:creationId xmlns="" xmlns:a16="http://schemas.microsoft.com/office/drawing/2014/main" id="{AE514A40-1880-49E2-A46B-B1E9FA7B6AC3}"/>
                  </a:ext>
                </a:extLst>
              </p:cNvPr>
              <p:cNvSpPr/>
              <p:nvPr/>
            </p:nvSpPr>
            <p:spPr bwMode="auto">
              <a:xfrm>
                <a:off x="4120648" y="34482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1" name="Ovale 3160">
                <a:extLst>
                  <a:ext uri="{FF2B5EF4-FFF2-40B4-BE49-F238E27FC236}">
                    <a16:creationId xmlns="" xmlns:a16="http://schemas.microsoft.com/office/drawing/2014/main" id="{0DD7B9A0-4CA4-44B5-BCC2-33714CC77D3A}"/>
                  </a:ext>
                </a:extLst>
              </p:cNvPr>
              <p:cNvSpPr/>
              <p:nvPr/>
            </p:nvSpPr>
            <p:spPr bwMode="auto">
              <a:xfrm>
                <a:off x="4203198" y="35244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2" name="Ovale 3161">
                <a:extLst>
                  <a:ext uri="{FF2B5EF4-FFF2-40B4-BE49-F238E27FC236}">
                    <a16:creationId xmlns="" xmlns:a16="http://schemas.microsoft.com/office/drawing/2014/main" id="{7817EB2A-325A-471E-8D9B-6D3BC9DF9896}"/>
                  </a:ext>
                </a:extLst>
              </p:cNvPr>
              <p:cNvSpPr/>
              <p:nvPr/>
            </p:nvSpPr>
            <p:spPr bwMode="auto">
              <a:xfrm>
                <a:off x="4209548" y="36577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3" name="Ovale 3162">
                <a:extLst>
                  <a:ext uri="{FF2B5EF4-FFF2-40B4-BE49-F238E27FC236}">
                    <a16:creationId xmlns="" xmlns:a16="http://schemas.microsoft.com/office/drawing/2014/main" id="{5E8A5198-BB74-4ED4-8506-655202E161E6}"/>
                  </a:ext>
                </a:extLst>
              </p:cNvPr>
              <p:cNvSpPr/>
              <p:nvPr/>
            </p:nvSpPr>
            <p:spPr bwMode="auto">
              <a:xfrm>
                <a:off x="1726698" y="41340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4" name="Ovale 3163">
                <a:extLst>
                  <a:ext uri="{FF2B5EF4-FFF2-40B4-BE49-F238E27FC236}">
                    <a16:creationId xmlns="" xmlns:a16="http://schemas.microsoft.com/office/drawing/2014/main" id="{A4AEC8AA-1AEB-4028-9E3B-5197B1AE9FB0}"/>
                  </a:ext>
                </a:extLst>
              </p:cNvPr>
              <p:cNvSpPr/>
              <p:nvPr/>
            </p:nvSpPr>
            <p:spPr bwMode="auto">
              <a:xfrm>
                <a:off x="1631448" y="41848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5" name="Ovale 3164">
                <a:extLst>
                  <a:ext uri="{FF2B5EF4-FFF2-40B4-BE49-F238E27FC236}">
                    <a16:creationId xmlns="" xmlns:a16="http://schemas.microsoft.com/office/drawing/2014/main" id="{749C6F76-B10F-400D-9E5D-1BC50E112408}"/>
                  </a:ext>
                </a:extLst>
              </p:cNvPr>
              <p:cNvSpPr/>
              <p:nvPr/>
            </p:nvSpPr>
            <p:spPr bwMode="auto">
              <a:xfrm>
                <a:off x="1447298" y="42927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6" name="Ovale 3165">
                <a:extLst>
                  <a:ext uri="{FF2B5EF4-FFF2-40B4-BE49-F238E27FC236}">
                    <a16:creationId xmlns="" xmlns:a16="http://schemas.microsoft.com/office/drawing/2014/main" id="{72B237DF-C28F-4807-BEEB-9E17F086C6C4}"/>
                  </a:ext>
                </a:extLst>
              </p:cNvPr>
              <p:cNvSpPr/>
              <p:nvPr/>
            </p:nvSpPr>
            <p:spPr bwMode="auto">
              <a:xfrm>
                <a:off x="1199648" y="42737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7" name="Ovale 3166">
                <a:extLst>
                  <a:ext uri="{FF2B5EF4-FFF2-40B4-BE49-F238E27FC236}">
                    <a16:creationId xmlns="" xmlns:a16="http://schemas.microsoft.com/office/drawing/2014/main" id="{DB6ABD50-7B5A-43FE-9610-BC58483BD876}"/>
                  </a:ext>
                </a:extLst>
              </p:cNvPr>
              <p:cNvSpPr/>
              <p:nvPr/>
            </p:nvSpPr>
            <p:spPr bwMode="auto">
              <a:xfrm>
                <a:off x="1529848" y="43181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8" name="Ovale 3167">
                <a:extLst>
                  <a:ext uri="{FF2B5EF4-FFF2-40B4-BE49-F238E27FC236}">
                    <a16:creationId xmlns="" xmlns:a16="http://schemas.microsoft.com/office/drawing/2014/main" id="{EE86DF5D-AE34-434A-B94A-26DF4DCF0EC1}"/>
                  </a:ext>
                </a:extLst>
              </p:cNvPr>
              <p:cNvSpPr/>
              <p:nvPr/>
            </p:nvSpPr>
            <p:spPr bwMode="auto">
              <a:xfrm>
                <a:off x="1631448" y="43435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69" name="Ovale 3168">
                <a:extLst>
                  <a:ext uri="{FF2B5EF4-FFF2-40B4-BE49-F238E27FC236}">
                    <a16:creationId xmlns="" xmlns:a16="http://schemas.microsoft.com/office/drawing/2014/main" id="{C9132F4E-BB8F-4D4A-B63D-DF1021A4A310}"/>
                  </a:ext>
                </a:extLst>
              </p:cNvPr>
              <p:cNvSpPr/>
              <p:nvPr/>
            </p:nvSpPr>
            <p:spPr bwMode="auto">
              <a:xfrm>
                <a:off x="958348" y="42356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0" name="Ovale 3169">
                <a:extLst>
                  <a:ext uri="{FF2B5EF4-FFF2-40B4-BE49-F238E27FC236}">
                    <a16:creationId xmlns="" xmlns:a16="http://schemas.microsoft.com/office/drawing/2014/main" id="{86EB6B7F-2008-44F8-93D2-2E2D718343A3}"/>
                  </a:ext>
                </a:extLst>
              </p:cNvPr>
              <p:cNvSpPr/>
              <p:nvPr/>
            </p:nvSpPr>
            <p:spPr bwMode="auto">
              <a:xfrm>
                <a:off x="1815598" y="37022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1" name="Ovale 3170">
                <a:extLst>
                  <a:ext uri="{FF2B5EF4-FFF2-40B4-BE49-F238E27FC236}">
                    <a16:creationId xmlns="" xmlns:a16="http://schemas.microsoft.com/office/drawing/2014/main" id="{9CD76232-0B9A-4131-84A0-CDC1326D2FCF}"/>
                  </a:ext>
                </a:extLst>
              </p:cNvPr>
              <p:cNvSpPr/>
              <p:nvPr/>
            </p:nvSpPr>
            <p:spPr bwMode="auto">
              <a:xfrm>
                <a:off x="1929898" y="37212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2" name="Ovale 3171">
                <a:extLst>
                  <a:ext uri="{FF2B5EF4-FFF2-40B4-BE49-F238E27FC236}">
                    <a16:creationId xmlns="" xmlns:a16="http://schemas.microsoft.com/office/drawing/2014/main" id="{F91CD900-D130-45B1-BC9F-82479BA978CD}"/>
                  </a:ext>
                </a:extLst>
              </p:cNvPr>
              <p:cNvSpPr/>
              <p:nvPr/>
            </p:nvSpPr>
            <p:spPr bwMode="auto">
              <a:xfrm>
                <a:off x="1047248" y="39054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3" name="Ovale 3172">
                <a:extLst>
                  <a:ext uri="{FF2B5EF4-FFF2-40B4-BE49-F238E27FC236}">
                    <a16:creationId xmlns="" xmlns:a16="http://schemas.microsoft.com/office/drawing/2014/main" id="{B7EA781A-2FB8-497C-AD88-3A35EEAFD674}"/>
                  </a:ext>
                </a:extLst>
              </p:cNvPr>
              <p:cNvSpPr/>
              <p:nvPr/>
            </p:nvSpPr>
            <p:spPr bwMode="auto">
              <a:xfrm>
                <a:off x="2164848" y="24004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4" name="Ovale 3173">
                <a:extLst>
                  <a:ext uri="{FF2B5EF4-FFF2-40B4-BE49-F238E27FC236}">
                    <a16:creationId xmlns="" xmlns:a16="http://schemas.microsoft.com/office/drawing/2014/main" id="{688CE892-1DE1-4C85-99E1-16705968803E}"/>
                  </a:ext>
                </a:extLst>
              </p:cNvPr>
              <p:cNvSpPr/>
              <p:nvPr/>
            </p:nvSpPr>
            <p:spPr bwMode="auto">
              <a:xfrm>
                <a:off x="2425198" y="25211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5" name="Ovale 3174">
                <a:extLst>
                  <a:ext uri="{FF2B5EF4-FFF2-40B4-BE49-F238E27FC236}">
                    <a16:creationId xmlns="" xmlns:a16="http://schemas.microsoft.com/office/drawing/2014/main" id="{AEA73379-C663-4F69-BA62-74FAA114F028}"/>
                  </a:ext>
                </a:extLst>
              </p:cNvPr>
              <p:cNvSpPr/>
              <p:nvPr/>
            </p:nvSpPr>
            <p:spPr bwMode="auto">
              <a:xfrm>
                <a:off x="3085598" y="28068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6" name="Ovale 3175">
                <a:extLst>
                  <a:ext uri="{FF2B5EF4-FFF2-40B4-BE49-F238E27FC236}">
                    <a16:creationId xmlns="" xmlns:a16="http://schemas.microsoft.com/office/drawing/2014/main" id="{F1D3F9D7-99B9-45AD-B2B4-6287159294B7}"/>
                  </a:ext>
                </a:extLst>
              </p:cNvPr>
              <p:cNvSpPr/>
              <p:nvPr/>
            </p:nvSpPr>
            <p:spPr bwMode="auto">
              <a:xfrm>
                <a:off x="3358648" y="32323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7" name="Ovale 3176">
                <a:extLst>
                  <a:ext uri="{FF2B5EF4-FFF2-40B4-BE49-F238E27FC236}">
                    <a16:creationId xmlns="" xmlns:a16="http://schemas.microsoft.com/office/drawing/2014/main" id="{13E1A7CB-EA2B-4997-BC32-0BDC2754ACEC}"/>
                  </a:ext>
                </a:extLst>
              </p:cNvPr>
              <p:cNvSpPr/>
              <p:nvPr/>
            </p:nvSpPr>
            <p:spPr bwMode="auto">
              <a:xfrm>
                <a:off x="3104648" y="30227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8" name="Ovale 3177">
                <a:extLst>
                  <a:ext uri="{FF2B5EF4-FFF2-40B4-BE49-F238E27FC236}">
                    <a16:creationId xmlns="" xmlns:a16="http://schemas.microsoft.com/office/drawing/2014/main" id="{2489566B-A883-4E89-889D-758A0A78DFB4}"/>
                  </a:ext>
                </a:extLst>
              </p:cNvPr>
              <p:cNvSpPr/>
              <p:nvPr/>
            </p:nvSpPr>
            <p:spPr bwMode="auto">
              <a:xfrm>
                <a:off x="4273048" y="32513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79" name="Ovale 3178">
                <a:extLst>
                  <a:ext uri="{FF2B5EF4-FFF2-40B4-BE49-F238E27FC236}">
                    <a16:creationId xmlns="" xmlns:a16="http://schemas.microsoft.com/office/drawing/2014/main" id="{2B644E96-EC90-449A-A69C-657EF7AEA349}"/>
                  </a:ext>
                </a:extLst>
              </p:cNvPr>
              <p:cNvSpPr/>
              <p:nvPr/>
            </p:nvSpPr>
            <p:spPr bwMode="auto">
              <a:xfrm>
                <a:off x="3936498" y="34418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0" name="Ovale 3179">
                <a:extLst>
                  <a:ext uri="{FF2B5EF4-FFF2-40B4-BE49-F238E27FC236}">
                    <a16:creationId xmlns="" xmlns:a16="http://schemas.microsoft.com/office/drawing/2014/main" id="{D0EB9C9A-9822-4551-89FD-40D56B67851F}"/>
                  </a:ext>
                </a:extLst>
              </p:cNvPr>
              <p:cNvSpPr/>
              <p:nvPr/>
            </p:nvSpPr>
            <p:spPr bwMode="auto">
              <a:xfrm>
                <a:off x="1080282" y="5143436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1" name="Ovale 3180">
                <a:extLst>
                  <a:ext uri="{FF2B5EF4-FFF2-40B4-BE49-F238E27FC236}">
                    <a16:creationId xmlns="" xmlns:a16="http://schemas.microsoft.com/office/drawing/2014/main" id="{D0EB9C9A-9822-4551-89FD-40D56B67851F}"/>
                  </a:ext>
                </a:extLst>
              </p:cNvPr>
              <p:cNvSpPr/>
              <p:nvPr/>
            </p:nvSpPr>
            <p:spPr bwMode="auto">
              <a:xfrm>
                <a:off x="875293" y="4753795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2" name="Ovale 3181">
                <a:extLst>
                  <a:ext uri="{FF2B5EF4-FFF2-40B4-BE49-F238E27FC236}">
                    <a16:creationId xmlns="" xmlns:a16="http://schemas.microsoft.com/office/drawing/2014/main" id="{D0EB9C9A-9822-4551-89FD-40D56B67851F}"/>
                  </a:ext>
                </a:extLst>
              </p:cNvPr>
              <p:cNvSpPr/>
              <p:nvPr/>
            </p:nvSpPr>
            <p:spPr bwMode="auto">
              <a:xfrm>
                <a:off x="1506815" y="445176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3" name="Ovale 3182">
                <a:extLst>
                  <a:ext uri="{FF2B5EF4-FFF2-40B4-BE49-F238E27FC236}">
                    <a16:creationId xmlns="" xmlns:a16="http://schemas.microsoft.com/office/drawing/2014/main" id="{DE5185D1-BA1E-491A-A094-A1EA4F0D69A4}"/>
                  </a:ext>
                </a:extLst>
              </p:cNvPr>
              <p:cNvSpPr/>
              <p:nvPr/>
            </p:nvSpPr>
            <p:spPr bwMode="auto">
              <a:xfrm>
                <a:off x="2237873" y="4221088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4" name="Ovale 3183">
                <a:extLst>
                  <a:ext uri="{FF2B5EF4-FFF2-40B4-BE49-F238E27FC236}">
                    <a16:creationId xmlns="" xmlns:a16="http://schemas.microsoft.com/office/drawing/2014/main" id="{0CA6D8FF-2F61-4844-9390-33F6E4B46810}"/>
                  </a:ext>
                </a:extLst>
              </p:cNvPr>
              <p:cNvSpPr/>
              <p:nvPr/>
            </p:nvSpPr>
            <p:spPr bwMode="auto">
              <a:xfrm>
                <a:off x="804360" y="3422474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5" name="Ovale 3184">
                <a:extLst>
                  <a:ext uri="{FF2B5EF4-FFF2-40B4-BE49-F238E27FC236}">
                    <a16:creationId xmlns="" xmlns:a16="http://schemas.microsoft.com/office/drawing/2014/main" id="{03BDA8E8-2599-4F1C-BDEC-93F54F764B69}"/>
                  </a:ext>
                </a:extLst>
              </p:cNvPr>
              <p:cNvSpPr/>
              <p:nvPr/>
            </p:nvSpPr>
            <p:spPr bwMode="auto">
              <a:xfrm>
                <a:off x="601225" y="487486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186" name="Ovale 3185">
                <a:extLst>
                  <a:ext uri="{FF2B5EF4-FFF2-40B4-BE49-F238E27FC236}">
                    <a16:creationId xmlns="" xmlns:a16="http://schemas.microsoft.com/office/drawing/2014/main" id="{B767422B-3E02-42A5-BFB4-A1DCE0DEBECE}"/>
                  </a:ext>
                </a:extLst>
              </p:cNvPr>
              <p:cNvSpPr/>
              <p:nvPr/>
            </p:nvSpPr>
            <p:spPr bwMode="auto">
              <a:xfrm>
                <a:off x="680535" y="4879799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</p:grpSp>
        <p:grpSp>
          <p:nvGrpSpPr>
            <p:cNvPr id="3056" name="Gruppo 3055"/>
            <p:cNvGrpSpPr/>
            <p:nvPr/>
          </p:nvGrpSpPr>
          <p:grpSpPr>
            <a:xfrm>
              <a:off x="723398" y="984422"/>
              <a:ext cx="282800" cy="276450"/>
              <a:chOff x="723398" y="984422"/>
              <a:chExt cx="282800" cy="276450"/>
            </a:xfrm>
          </p:grpSpPr>
          <p:sp>
            <p:nvSpPr>
              <p:cNvPr id="3057" name="Ovale 3056">
                <a:extLst>
                  <a:ext uri="{FF2B5EF4-FFF2-40B4-BE49-F238E27FC236}">
                    <a16:creationId xmlns="" xmlns:a16="http://schemas.microsoft.com/office/drawing/2014/main" id="{AD117695-1310-4722-B79C-6E2F359265B3}"/>
                  </a:ext>
                </a:extLst>
              </p:cNvPr>
              <p:cNvSpPr/>
              <p:nvPr/>
            </p:nvSpPr>
            <p:spPr bwMode="auto">
              <a:xfrm>
                <a:off x="723398" y="12320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58" name="Ovale 3057">
                <a:extLst>
                  <a:ext uri="{FF2B5EF4-FFF2-40B4-BE49-F238E27FC236}">
                    <a16:creationId xmlns="" xmlns:a16="http://schemas.microsoft.com/office/drawing/2014/main" id="{D16DD339-0259-4914-BAED-0F8AB2256BDE}"/>
                  </a:ext>
                </a:extLst>
              </p:cNvPr>
              <p:cNvSpPr/>
              <p:nvPr/>
            </p:nvSpPr>
            <p:spPr bwMode="auto">
              <a:xfrm>
                <a:off x="869448" y="106697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59" name="Ovale 3058">
                <a:extLst>
                  <a:ext uri="{FF2B5EF4-FFF2-40B4-BE49-F238E27FC236}">
                    <a16:creationId xmlns="" xmlns:a16="http://schemas.microsoft.com/office/drawing/2014/main" id="{345AEF69-AC06-4D04-8799-258ECF110A04}"/>
                  </a:ext>
                </a:extLst>
              </p:cNvPr>
              <p:cNvSpPr/>
              <p:nvPr/>
            </p:nvSpPr>
            <p:spPr bwMode="auto">
              <a:xfrm>
                <a:off x="977398" y="10606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0" name="Ovale 3059">
                <a:extLst>
                  <a:ext uri="{FF2B5EF4-FFF2-40B4-BE49-F238E27FC236}">
                    <a16:creationId xmlns="" xmlns:a16="http://schemas.microsoft.com/office/drawing/2014/main" id="{B4BEC235-CFAD-4F16-B3DA-DE1D430A6CF7}"/>
                  </a:ext>
                </a:extLst>
              </p:cNvPr>
              <p:cNvSpPr/>
              <p:nvPr/>
            </p:nvSpPr>
            <p:spPr bwMode="auto">
              <a:xfrm>
                <a:off x="793248" y="9844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  <p:sp>
            <p:nvSpPr>
              <p:cNvPr id="3061" name="Ovale 3060">
                <a:extLst>
                  <a:ext uri="{FF2B5EF4-FFF2-40B4-BE49-F238E27FC236}">
                    <a16:creationId xmlns="" xmlns:a16="http://schemas.microsoft.com/office/drawing/2014/main" id="{34562487-37AB-4616-BC9E-922707737DAF}"/>
                  </a:ext>
                </a:extLst>
              </p:cNvPr>
              <p:cNvSpPr/>
              <p:nvPr/>
            </p:nvSpPr>
            <p:spPr bwMode="auto">
              <a:xfrm>
                <a:off x="951998" y="1213022"/>
                <a:ext cx="28800" cy="28800"/>
              </a:xfrm>
              <a:prstGeom prst="ellipse">
                <a:avLst/>
              </a:prstGeom>
              <a:solidFill>
                <a:schemeClr val="accent3"/>
              </a:solidFill>
              <a:ln w="3175">
                <a:solidFill>
                  <a:schemeClr val="accent3">
                    <a:lumMod val="75000"/>
                  </a:schemeClr>
                </a:solidFill>
              </a:ln>
              <a:effectLst/>
              <a:extLst/>
            </p:spPr>
            <p:txBody>
              <a:bodyPr wrap="square" lIns="0" tIns="0" rIns="0" bIns="0" rtlCol="0" anchor="ctr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endParaRPr>
              </a:p>
            </p:txBody>
          </p:sp>
        </p:grpSp>
      </p:grpSp>
      <p:sp>
        <p:nvSpPr>
          <p:cNvPr id="3188" name="Ovale 3187">
            <a:extLst>
              <a:ext uri="{FF2B5EF4-FFF2-40B4-BE49-F238E27FC236}">
                <a16:creationId xmlns="" xmlns:a16="http://schemas.microsoft.com/office/drawing/2014/main" id="{E76C19F7-1391-4248-96CE-C159D3311060}"/>
              </a:ext>
            </a:extLst>
          </p:cNvPr>
          <p:cNvSpPr/>
          <p:nvPr/>
        </p:nvSpPr>
        <p:spPr bwMode="auto">
          <a:xfrm>
            <a:off x="5167313" y="1532114"/>
            <a:ext cx="218506" cy="217374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8000" tIns="18000" rIns="18000" bIns="18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</a:pPr>
            <a:r>
              <a:rPr lang="it-IT" sz="1200" b="1" dirty="0" smtClean="0">
                <a:solidFill>
                  <a:schemeClr val="bg1"/>
                </a:solidFill>
                <a:latin typeface="Arial"/>
              </a:rPr>
              <a:t>B</a:t>
            </a:r>
            <a:endParaRPr lang="it-IT" sz="1200" b="1" dirty="0">
              <a:solidFill>
                <a:schemeClr val="bg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0509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87" grpId="0" animBg="1"/>
      <p:bldP spid="3190" grpId="0" animBg="1"/>
      <p:bldP spid="3050" grpId="0" animBg="1"/>
      <p:bldP spid="3051" grpId="0" animBg="1"/>
      <p:bldP spid="3053" grpId="0" animBg="1"/>
      <p:bldP spid="226" grpId="0" animBg="1"/>
      <p:bldP spid="318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500" y="192265"/>
            <a:ext cx="9714036" cy="307777"/>
          </a:xfrm>
        </p:spPr>
        <p:txBody>
          <a:bodyPr/>
          <a:lstStyle/>
          <a:p>
            <a:pPr marL="361950"/>
            <a:r>
              <a:rPr lang="it-IT" sz="2000" dirty="0" err="1" smtClean="0"/>
              <a:t>…con</a:t>
            </a:r>
            <a:r>
              <a:rPr lang="it-IT" sz="2000" dirty="0" smtClean="0"/>
              <a:t> tempi serrati</a:t>
            </a:r>
            <a:endParaRPr lang="it-IT" sz="2000" dirty="0"/>
          </a:p>
        </p:txBody>
      </p:sp>
      <p:sp>
        <p:nvSpPr>
          <p:cNvPr id="275" name="Ovale 274">
            <a:extLst>
              <a:ext uri="{FF2B5EF4-FFF2-40B4-BE49-F238E27FC236}">
                <a16:creationId xmlns="" xmlns:a16="http://schemas.microsoft.com/office/drawing/2014/main" id="{36858B03-B4D9-4C53-AF92-C3382A7321ED}"/>
              </a:ext>
            </a:extLst>
          </p:cNvPr>
          <p:cNvSpPr/>
          <p:nvPr/>
        </p:nvSpPr>
        <p:spPr bwMode="auto">
          <a:xfrm>
            <a:off x="9244905" y="117953"/>
            <a:ext cx="71030" cy="7103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>
                <a:lumMod val="75000"/>
              </a:schemeClr>
            </a:solidFill>
          </a:ln>
          <a:effectLst/>
          <a:ex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76" name="CasellaDiTesto 275">
            <a:extLst>
              <a:ext uri="{FF2B5EF4-FFF2-40B4-BE49-F238E27FC236}">
                <a16:creationId xmlns="" xmlns:a16="http://schemas.microsoft.com/office/drawing/2014/main" id="{B7FBC9CA-039F-498B-9A32-2166FCD1BE22}"/>
              </a:ext>
            </a:extLst>
          </p:cNvPr>
          <p:cNvSpPr txBox="1"/>
          <p:nvPr/>
        </p:nvSpPr>
        <p:spPr>
          <a:xfrm>
            <a:off x="9421760" y="76524"/>
            <a:ext cx="282129" cy="1538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2019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79" name="Ovale 278">
            <a:extLst>
              <a:ext uri="{FF2B5EF4-FFF2-40B4-BE49-F238E27FC236}">
                <a16:creationId xmlns="" xmlns:a16="http://schemas.microsoft.com/office/drawing/2014/main" id="{CF9F53DB-5A3B-4442-88FF-49E5F159B4C1}"/>
              </a:ext>
            </a:extLst>
          </p:cNvPr>
          <p:cNvSpPr/>
          <p:nvPr/>
        </p:nvSpPr>
        <p:spPr bwMode="auto">
          <a:xfrm>
            <a:off x="9244905" y="302227"/>
            <a:ext cx="71030" cy="71030"/>
          </a:xfrm>
          <a:prstGeom prst="ellipse">
            <a:avLst/>
          </a:prstGeom>
          <a:solidFill>
            <a:schemeClr val="accent4"/>
          </a:solidFill>
          <a:ln w="3175">
            <a:solidFill>
              <a:schemeClr val="accent4">
                <a:lumMod val="75000"/>
              </a:schemeClr>
            </a:solidFill>
          </a:ln>
          <a:effectLst/>
          <a:ex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0" name="CasellaDiTesto 279">
            <a:extLst>
              <a:ext uri="{FF2B5EF4-FFF2-40B4-BE49-F238E27FC236}">
                <a16:creationId xmlns="" xmlns:a16="http://schemas.microsoft.com/office/drawing/2014/main" id="{C8EFEA20-F388-425F-8EEA-495B4C7024FD}"/>
              </a:ext>
            </a:extLst>
          </p:cNvPr>
          <p:cNvSpPr txBox="1"/>
          <p:nvPr/>
        </p:nvSpPr>
        <p:spPr>
          <a:xfrm>
            <a:off x="9421760" y="260798"/>
            <a:ext cx="282129" cy="1538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2020</a:t>
            </a:r>
          </a:p>
        </p:txBody>
      </p:sp>
      <p:grpSp>
        <p:nvGrpSpPr>
          <p:cNvPr id="3" name="Gruppo 2"/>
          <p:cNvGrpSpPr/>
          <p:nvPr/>
        </p:nvGrpSpPr>
        <p:grpSpPr>
          <a:xfrm>
            <a:off x="0" y="451942"/>
            <a:ext cx="9893193" cy="6407522"/>
            <a:chOff x="0" y="451942"/>
            <a:chExt cx="9893193" cy="6407522"/>
          </a:xfrm>
        </p:grpSpPr>
        <p:sp>
          <p:nvSpPr>
            <p:cNvPr id="18" name="Rettangolo 17"/>
            <p:cNvSpPr/>
            <p:nvPr/>
          </p:nvSpPr>
          <p:spPr bwMode="auto">
            <a:xfrm>
              <a:off x="0" y="657647"/>
              <a:ext cx="9855200" cy="307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it-IT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52" name="Rettangolo 15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1877867"/>
              <a:ext cx="1480432" cy="49957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Tiburtino III </a:t>
              </a:r>
              <a:r>
                <a:rPr lang="it-IT" sz="1200" b="1" dirty="0" smtClean="0">
                  <a:solidFill>
                    <a:srgbClr val="000000"/>
                  </a:solidFill>
                  <a:latin typeface="Arial"/>
                </a:rPr>
                <a:t>L. 12</a:t>
              </a:r>
              <a:endParaRPr lang="it-IT" sz="1200" b="1" dirty="0">
                <a:solidFill>
                  <a:srgbClr val="000000"/>
                </a:solidFill>
                <a:latin typeface="Arial"/>
              </a:endParaRP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Via Tagliacozzo </a:t>
              </a:r>
            </a:p>
          </p:txBody>
        </p:sp>
        <p:sp>
          <p:nvSpPr>
            <p:cNvPr id="164" name="Rettangolo 163">
              <a:extLst>
                <a:ext uri="{FF2B5EF4-FFF2-40B4-BE49-F238E27FC236}">
                  <a16:creationId xmlns="" xmlns:a16="http://schemas.microsoft.com/office/drawing/2014/main" id="{E76C19F7-1391-4248-96CE-C159D3311060}"/>
                </a:ext>
              </a:extLst>
            </p:cNvPr>
            <p:cNvSpPr/>
            <p:nvPr/>
          </p:nvSpPr>
          <p:spPr bwMode="auto">
            <a:xfrm>
              <a:off x="1368521" y="2215908"/>
              <a:ext cx="211347" cy="16153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0</a:t>
              </a:r>
            </a:p>
          </p:txBody>
        </p:sp>
        <p:sp>
          <p:nvSpPr>
            <p:cNvPr id="107" name="Rettangolo 10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2822504"/>
              <a:ext cx="1480432" cy="3960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Tor Vergat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Via Ferruccio Ulivi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1" name="Rettangolo 150">
              <a:extLst>
                <a:ext uri="{FF2B5EF4-FFF2-40B4-BE49-F238E27FC236}">
                  <a16:creationId xmlns="" xmlns:a16="http://schemas.microsoft.com/office/drawing/2014/main" id="{F407BDE3-3F88-4575-9A8C-DB7FAED6891B}"/>
                </a:ext>
              </a:extLst>
            </p:cNvPr>
            <p:cNvSpPr/>
            <p:nvPr/>
          </p:nvSpPr>
          <p:spPr bwMode="auto">
            <a:xfrm>
              <a:off x="1368521" y="3057001"/>
              <a:ext cx="211347" cy="16153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42</a:t>
              </a:r>
            </a:p>
          </p:txBody>
        </p:sp>
        <p:sp>
          <p:nvSpPr>
            <p:cNvPr id="99" name="Rettangolo 9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1131008"/>
              <a:ext cx="1480432" cy="34536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 err="1">
                  <a:solidFill>
                    <a:srgbClr val="000000"/>
                  </a:solidFill>
                  <a:latin typeface="Arial"/>
                </a:rPr>
                <a:t>Primavalle</a:t>
              </a:r>
              <a:endParaRPr lang="it-IT" sz="1200" b="1" dirty="0">
                <a:solidFill>
                  <a:srgbClr val="000000"/>
                </a:solidFill>
                <a:latin typeface="Arial"/>
              </a:endParaRP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Via </a:t>
              </a:r>
              <a:r>
                <a:rPr lang="it-IT" sz="1000" dirty="0" err="1" smtClean="0">
                  <a:solidFill>
                    <a:srgbClr val="000000"/>
                  </a:solidFill>
                  <a:latin typeface="Arial"/>
                </a:rPr>
                <a:t>Bembo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2" name="Rettangolo 101">
              <a:extLst>
                <a:ext uri="{FF2B5EF4-FFF2-40B4-BE49-F238E27FC236}">
                  <a16:creationId xmlns="" xmlns:a16="http://schemas.microsoft.com/office/drawing/2014/main" id="{106A934F-B4D9-478E-897F-3585D41F1977}"/>
                </a:ext>
              </a:extLst>
            </p:cNvPr>
            <p:cNvSpPr/>
            <p:nvPr/>
          </p:nvSpPr>
          <p:spPr bwMode="auto">
            <a:xfrm>
              <a:off x="1368521" y="1311095"/>
              <a:ext cx="211347" cy="16153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4</a:t>
              </a:r>
            </a:p>
          </p:txBody>
        </p:sp>
        <p:sp>
          <p:nvSpPr>
            <p:cNvPr id="36" name="Rettangolo 3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2397725"/>
              <a:ext cx="1480432" cy="3960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Ponte di Non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arto </a:t>
              </a: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9-11</a:t>
              </a:r>
            </a:p>
          </p:txBody>
        </p:sp>
        <p:sp>
          <p:nvSpPr>
            <p:cNvPr id="98" name="Rettangolo 97">
              <a:extLst>
                <a:ext uri="{FF2B5EF4-FFF2-40B4-BE49-F238E27FC236}">
                  <a16:creationId xmlns="" xmlns:a16="http://schemas.microsoft.com/office/drawing/2014/main" id="{090E2497-5A5E-4DF7-A837-9F7C2889CD6A}"/>
                </a:ext>
              </a:extLst>
            </p:cNvPr>
            <p:cNvSpPr/>
            <p:nvPr/>
          </p:nvSpPr>
          <p:spPr bwMode="auto">
            <a:xfrm>
              <a:off x="1368521" y="2632222"/>
              <a:ext cx="211347" cy="16153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68</a:t>
              </a:r>
            </a:p>
          </p:txBody>
        </p:sp>
        <p:sp>
          <p:nvSpPr>
            <p:cNvPr id="302" name="Rettangolo 30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4437119"/>
              <a:ext cx="1480432" cy="345481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LAURENTINO 38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Ponti 5/6 </a:t>
              </a:r>
            </a:p>
          </p:txBody>
        </p:sp>
        <p:sp>
          <p:nvSpPr>
            <p:cNvPr id="366" name="Rettangolo 365">
              <a:extLst>
                <a:ext uri="{FF2B5EF4-FFF2-40B4-BE49-F238E27FC236}">
                  <a16:creationId xmlns="" xmlns:a16="http://schemas.microsoft.com/office/drawing/2014/main" id="{BB9D05FB-6365-4EE5-819F-72B79171C1B9}"/>
                </a:ext>
              </a:extLst>
            </p:cNvPr>
            <p:cNvSpPr/>
            <p:nvPr/>
          </p:nvSpPr>
          <p:spPr bwMode="auto">
            <a:xfrm>
              <a:off x="1368521" y="4621068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70</a:t>
              </a:r>
            </a:p>
          </p:txBody>
        </p:sp>
        <p:sp>
          <p:nvSpPr>
            <p:cNvPr id="171" name="Rettangolo 17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6026495"/>
              <a:ext cx="1480432" cy="36393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 smtClean="0">
                  <a:solidFill>
                    <a:srgbClr val="000000"/>
                  </a:solidFill>
                  <a:latin typeface="Arial"/>
                </a:rPr>
                <a:t>Ostia ** </a:t>
              </a:r>
              <a:endParaRPr lang="it-IT" sz="1200" b="1" dirty="0">
                <a:solidFill>
                  <a:srgbClr val="000000"/>
                </a:solidFill>
                <a:latin typeface="Arial"/>
              </a:endParaRP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Idroscalo</a:t>
              </a:r>
            </a:p>
          </p:txBody>
        </p:sp>
        <p:sp>
          <p:nvSpPr>
            <p:cNvPr id="174" name="Rettangolo 173">
              <a:extLst>
                <a:ext uri="{FF2B5EF4-FFF2-40B4-BE49-F238E27FC236}">
                  <a16:creationId xmlns="" xmlns:a16="http://schemas.microsoft.com/office/drawing/2014/main" id="{EEB9864B-FEE4-4339-A524-8B359F90F6E9}"/>
                </a:ext>
              </a:extLst>
            </p:cNvPr>
            <p:cNvSpPr/>
            <p:nvPr/>
          </p:nvSpPr>
          <p:spPr bwMode="auto">
            <a:xfrm>
              <a:off x="1368521" y="6228893"/>
              <a:ext cx="211347" cy="161532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80</a:t>
              </a:r>
            </a:p>
          </p:txBody>
        </p:sp>
        <p:sp>
          <p:nvSpPr>
            <p:cNvPr id="622" name="Rettangolo 62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3620627"/>
              <a:ext cx="1480432" cy="3960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TORREVECCHI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Via Gasparri </a:t>
              </a:r>
            </a:p>
          </p:txBody>
        </p:sp>
        <p:sp>
          <p:nvSpPr>
            <p:cNvPr id="625" name="Rettangolo 624">
              <a:extLst>
                <a:ext uri="{FF2B5EF4-FFF2-40B4-BE49-F238E27FC236}">
                  <a16:creationId xmlns="" xmlns:a16="http://schemas.microsoft.com/office/drawing/2014/main" id="{A24329F9-7EEB-445D-BA8F-58EE3366050D}"/>
                </a:ext>
              </a:extLst>
            </p:cNvPr>
            <p:cNvSpPr/>
            <p:nvPr/>
          </p:nvSpPr>
          <p:spPr bwMode="auto">
            <a:xfrm>
              <a:off x="1368521" y="3855124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2</a:t>
              </a:r>
            </a:p>
          </p:txBody>
        </p:sp>
        <p:sp>
          <p:nvSpPr>
            <p:cNvPr id="574" name="Rettangolo 57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4054297"/>
              <a:ext cx="1480432" cy="34625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TIBURTINO III </a:t>
              </a:r>
            </a:p>
          </p:txBody>
        </p:sp>
        <p:sp>
          <p:nvSpPr>
            <p:cNvPr id="621" name="Rettangolo 620">
              <a:extLst>
                <a:ext uri="{FF2B5EF4-FFF2-40B4-BE49-F238E27FC236}">
                  <a16:creationId xmlns="" xmlns:a16="http://schemas.microsoft.com/office/drawing/2014/main" id="{FF96BC6D-8497-4E38-B7F5-02EC1C7D49C5}"/>
                </a:ext>
              </a:extLst>
            </p:cNvPr>
            <p:cNvSpPr/>
            <p:nvPr/>
          </p:nvSpPr>
          <p:spPr bwMode="auto">
            <a:xfrm>
              <a:off x="1368521" y="4239019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49</a:t>
              </a:r>
            </a:p>
          </p:txBody>
        </p:sp>
        <p:sp>
          <p:nvSpPr>
            <p:cNvPr id="376" name="Rettangolo 37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3247283"/>
              <a:ext cx="1480432" cy="3468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CESANO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M1-M2-M3-M4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1" name="Rettangolo 500">
              <a:extLst>
                <a:ext uri="{FF2B5EF4-FFF2-40B4-BE49-F238E27FC236}">
                  <a16:creationId xmlns="" xmlns:a16="http://schemas.microsoft.com/office/drawing/2014/main" id="{40700A62-377C-4A74-AAF1-0022B16A4BDB}"/>
                </a:ext>
              </a:extLst>
            </p:cNvPr>
            <p:cNvSpPr/>
            <p:nvPr/>
          </p:nvSpPr>
          <p:spPr bwMode="auto">
            <a:xfrm>
              <a:off x="1368521" y="3432568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18</a:t>
              </a:r>
            </a:p>
          </p:txBody>
        </p:sp>
        <p:sp>
          <p:nvSpPr>
            <p:cNvPr id="11" name="Rettangolo 1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9909" y="1497892"/>
              <a:ext cx="1480432" cy="36255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 err="1">
                  <a:solidFill>
                    <a:srgbClr val="000000"/>
                  </a:solidFill>
                  <a:latin typeface="Arial"/>
                </a:rPr>
                <a:t>Corviale</a:t>
              </a:r>
              <a:endParaRPr lang="it-IT" sz="1200" b="1" dirty="0">
                <a:solidFill>
                  <a:srgbClr val="000000"/>
                </a:solidFill>
                <a:latin typeface="Arial"/>
              </a:endParaRP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3^ 4^ e 5^ piano </a:t>
              </a:r>
            </a:p>
          </p:txBody>
        </p:sp>
        <p:sp>
          <p:nvSpPr>
            <p:cNvPr id="35" name="Rettangolo 34">
              <a:extLst>
                <a:ext uri="{FF2B5EF4-FFF2-40B4-BE49-F238E27FC236}">
                  <a16:creationId xmlns="" xmlns:a16="http://schemas.microsoft.com/office/drawing/2014/main" id="{E0714521-F857-4195-8FDC-3C6AB29DEFF7}"/>
                </a:ext>
              </a:extLst>
            </p:cNvPr>
            <p:cNvSpPr/>
            <p:nvPr/>
          </p:nvSpPr>
          <p:spPr bwMode="auto">
            <a:xfrm>
              <a:off x="1368521" y="1741835"/>
              <a:ext cx="211347" cy="11861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900" b="1" i="1" dirty="0" smtClean="0">
                  <a:solidFill>
                    <a:schemeClr val="bg1"/>
                  </a:solidFill>
                  <a:latin typeface="Arial"/>
                </a:rPr>
                <a:t>21</a:t>
              </a:r>
              <a:endParaRPr lang="it-IT" sz="900" b="1" i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781" name="Rettangolo 780">
              <a:extLst>
                <a:ext uri="{FF2B5EF4-FFF2-40B4-BE49-F238E27FC236}">
                  <a16:creationId xmlns="" xmlns:a16="http://schemas.microsoft.com/office/drawing/2014/main" id="{0D7085B0-DA38-4838-9906-895F55133845}"/>
                </a:ext>
              </a:extLst>
            </p:cNvPr>
            <p:cNvSpPr/>
            <p:nvPr/>
          </p:nvSpPr>
          <p:spPr bwMode="auto">
            <a:xfrm>
              <a:off x="1368521" y="1619867"/>
              <a:ext cx="211347" cy="11861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25</a:t>
              </a:r>
            </a:p>
          </p:txBody>
        </p:sp>
        <p:sp>
          <p:nvSpPr>
            <p:cNvPr id="785" name="Rettangolo 784">
              <a:extLst>
                <a:ext uri="{FF2B5EF4-FFF2-40B4-BE49-F238E27FC236}">
                  <a16:creationId xmlns="" xmlns:a16="http://schemas.microsoft.com/office/drawing/2014/main" id="{6ABC453A-1FB3-463B-AA4F-CC1BABDE64B1}"/>
                </a:ext>
              </a:extLst>
            </p:cNvPr>
            <p:cNvSpPr/>
            <p:nvPr/>
          </p:nvSpPr>
          <p:spPr bwMode="auto">
            <a:xfrm>
              <a:off x="1368521" y="1497899"/>
              <a:ext cx="211347" cy="118612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57</a:t>
              </a:r>
            </a:p>
          </p:txBody>
        </p:sp>
        <p:sp>
          <p:nvSpPr>
            <p:cNvPr id="789" name="Rettangolo 78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677838"/>
              <a:ext cx="1480432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>
                  <a:solidFill>
                    <a:srgbClr val="FFFFFF"/>
                  </a:solidFill>
                  <a:latin typeface="Arial"/>
                </a:rPr>
                <a:t>Tipologia</a:t>
              </a:r>
            </a:p>
          </p:txBody>
        </p:sp>
        <p:sp>
          <p:nvSpPr>
            <p:cNvPr id="791" name="Rettangolo 79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0" y="677838"/>
              <a:ext cx="1968850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Descrizione 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92" name="Rettangolo 79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3" y="677838"/>
              <a:ext cx="537206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Costo</a:t>
              </a:r>
            </a:p>
            <a:p>
              <a:pPr eaLnBrk="0" hangingPunct="0">
                <a:spcAft>
                  <a:spcPts val="200"/>
                </a:spcAft>
              </a:pPr>
              <a:r>
                <a:rPr lang="it-IT" sz="1000" b="1" dirty="0" smtClean="0">
                  <a:solidFill>
                    <a:srgbClr val="FFFFFF"/>
                  </a:solidFill>
                  <a:latin typeface="Arial"/>
                </a:rPr>
                <a:t>(Mio€)</a:t>
              </a:r>
              <a:endParaRPr lang="it-IT" sz="1000" b="1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808" name="Connettore 1 807"/>
            <p:cNvCxnSpPr/>
            <p:nvPr/>
          </p:nvCxnSpPr>
          <p:spPr bwMode="auto">
            <a:xfrm>
              <a:off x="1600200" y="1855872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sp>
          <p:nvSpPr>
            <p:cNvPr id="818" name="Rettangolo 81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677838"/>
              <a:ext cx="686939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Durata lavori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4" name="Rettangolo 9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1131008"/>
              <a:ext cx="1968850" cy="3500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ambio destinazione d’us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5" name="Rettangolo 9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1497899"/>
              <a:ext cx="1968850" cy="36642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Riqualificazione ex locali commerciali occupati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6" name="Rettangolo 9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1877867"/>
              <a:ext cx="19688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Alloggi + ascensore esterno, sist.ni esterne, efficienza en.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7" name="Rettangolo 9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2397725"/>
              <a:ext cx="19688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Edilizia </a:t>
              </a: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sperimentale 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sovvenzionata MIT-Reg Lazi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0" name="Rettangolo 9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2822504"/>
              <a:ext cx="19688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letamento  scheletro con FV, ST, miglioramento sismic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1" name="Rettangolo 10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0" y="3247283"/>
              <a:ext cx="2106009" cy="3252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letamento scheletro con variante </a:t>
              </a:r>
              <a:r>
                <a:rPr lang="it-IT" sz="1000" dirty="0" err="1" smtClean="0">
                  <a:solidFill>
                    <a:srgbClr val="000000"/>
                  </a:solidFill>
                  <a:latin typeface="Arial"/>
                </a:rPr>
                <a:t>urb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 110 + 8 frazionamenti</a:t>
              </a:r>
            </a:p>
          </p:txBody>
        </p:sp>
        <p:sp>
          <p:nvSpPr>
            <p:cNvPr id="104" name="Rettangolo 10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3620627"/>
              <a:ext cx="19688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Demolizione e </a:t>
              </a: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ricostruzione sovvenzionata 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MIT- Reg. Lazi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5" name="Rettangolo 10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4054296"/>
              <a:ext cx="1968850" cy="3246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err="1" smtClean="0">
                  <a:solidFill>
                    <a:srgbClr val="000000"/>
                  </a:solidFill>
                  <a:latin typeface="Arial"/>
                </a:rPr>
                <a:t>Densificazione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, già piano casa Piano Pilotis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1" name="Rettangolo 11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6026494"/>
              <a:ext cx="1968850" cy="3412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Nuova costruzione su area ATER (cubatura residua)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Rettangolo 11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4437112"/>
              <a:ext cx="1968850" cy="3239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Cambio di destinazione 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d’uso, già Piano Casa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3" name="Rettangolo 11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1131008"/>
              <a:ext cx="531395" cy="3500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0,4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4" name="Rettangolo 11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1497899"/>
              <a:ext cx="531395" cy="36642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0,5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5" name="Rettangolo 11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1980566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6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6" name="Rettangolo 11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2397725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8,9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7" name="Rettangolo 11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2822504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6,7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9" name="Rettangolo 11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3620627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,7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Rettangolo 11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4054296"/>
              <a:ext cx="531395" cy="3246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7,4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3" name="Rettangolo 12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4438890"/>
              <a:ext cx="531395" cy="3412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7,0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4" name="Rettangolo 12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6024716"/>
              <a:ext cx="531395" cy="3239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0,0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5" name="Rettangolo 12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1131008"/>
              <a:ext cx="686939" cy="35009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6-8 mes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7" name="Rettangolo 12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1877867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4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9" name="Rettangolo 12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2860604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5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Rettangolo 12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3247283"/>
              <a:ext cx="686939" cy="3252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,5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1" name="Rettangolo 13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3620627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3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2" name="Rettangolo 13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4054296"/>
              <a:ext cx="686939" cy="3246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5" name="Rettangolo 13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6026494"/>
              <a:ext cx="686939" cy="3412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3 anni 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6" name="Rettangolo 13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4437112"/>
              <a:ext cx="686939" cy="3239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4" name="Gruppo 3"/>
            <p:cNvGrpSpPr/>
            <p:nvPr/>
          </p:nvGrpSpPr>
          <p:grpSpPr>
            <a:xfrm>
              <a:off x="9258070" y="1377333"/>
              <a:ext cx="635123" cy="369593"/>
              <a:chOff x="8086558" y="2778887"/>
              <a:chExt cx="798053" cy="464406"/>
            </a:xfrm>
          </p:grpSpPr>
          <p:sp>
            <p:nvSpPr>
              <p:cNvPr id="143" name="Esplosione: 14 punte 36">
                <a:extLst>
                  <a:ext uri="{FF2B5EF4-FFF2-40B4-BE49-F238E27FC236}">
                    <a16:creationId xmlns="" xmlns:a16="http://schemas.microsoft.com/office/drawing/2014/main" id="{6ACD7FBF-D2DF-4B40-A322-C0E1D85BEC1E}"/>
                  </a:ext>
                </a:extLst>
              </p:cNvPr>
              <p:cNvSpPr/>
              <p:nvPr/>
            </p:nvSpPr>
            <p:spPr bwMode="auto">
              <a:xfrm rot="182183">
                <a:off x="8086558" y="2778887"/>
                <a:ext cx="798053" cy="464406"/>
              </a:xfrm>
              <a:prstGeom prst="irregularSeal2">
                <a:avLst/>
              </a:prstGeom>
              <a:solidFill>
                <a:srgbClr val="FFC000"/>
              </a:solidFill>
              <a:ln w="9525" cap="flat" cmpd="sng" algn="ctr">
                <a:solidFill>
                  <a:srgbClr val="FFC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0" hangingPunct="0">
                  <a:spcAft>
                    <a:spcPts val="200"/>
                  </a:spcAft>
                  <a:defRPr/>
                </a:pPr>
                <a:r>
                  <a:rPr lang="it-IT" sz="1050" b="1" dirty="0">
                    <a:solidFill>
                      <a:srgbClr val="000000"/>
                    </a:solidFill>
                    <a:latin typeface="Arial"/>
                  </a:rPr>
                  <a:t> </a:t>
                </a:r>
              </a:p>
            </p:txBody>
          </p:sp>
          <p:sp>
            <p:nvSpPr>
              <p:cNvPr id="144" name="Rettangolo 143">
                <a:extLst>
                  <a:ext uri="{FF2B5EF4-FFF2-40B4-BE49-F238E27FC236}">
                    <a16:creationId xmlns="" xmlns:a16="http://schemas.microsoft.com/office/drawing/2014/main" id="{3E8841EE-41CF-4808-AC39-B504C40BB87A}"/>
                  </a:ext>
                </a:extLst>
              </p:cNvPr>
              <p:cNvSpPr/>
              <p:nvPr/>
            </p:nvSpPr>
            <p:spPr bwMode="auto">
              <a:xfrm rot="110612">
                <a:off x="8169175" y="2964296"/>
                <a:ext cx="539024" cy="13287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hangingPunct="0">
                  <a:spcAft>
                    <a:spcPts val="200"/>
                  </a:spcAft>
                </a:pPr>
                <a:r>
                  <a:rPr lang="it-IT" sz="1050" b="1" dirty="0" smtClean="0">
                    <a:solidFill>
                      <a:srgbClr val="000000"/>
                    </a:solidFill>
                    <a:latin typeface="Arial"/>
                  </a:rPr>
                  <a:t>NEW</a:t>
                </a:r>
                <a:endParaRPr lang="it-IT" sz="1050" b="1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6" name="Rettangolo 12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121502" y="1497899"/>
              <a:ext cx="686939" cy="36642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b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3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0" name="Rettangolo 18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5615535"/>
              <a:ext cx="1480432" cy="37135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 smtClean="0">
                  <a:solidFill>
                    <a:srgbClr val="000000"/>
                  </a:solidFill>
                  <a:latin typeface="Arial"/>
                </a:rPr>
                <a:t>Quarticciolo *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Via Ugento 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1" name="Rettangolo 190">
              <a:extLst>
                <a:ext uri="{FF2B5EF4-FFF2-40B4-BE49-F238E27FC236}">
                  <a16:creationId xmlns="" xmlns:a16="http://schemas.microsoft.com/office/drawing/2014/main" id="{BB9D05FB-6365-4EE5-819F-72B79171C1B9}"/>
                </a:ext>
              </a:extLst>
            </p:cNvPr>
            <p:cNvSpPr/>
            <p:nvPr/>
          </p:nvSpPr>
          <p:spPr bwMode="auto">
            <a:xfrm>
              <a:off x="1368521" y="5825360"/>
              <a:ext cx="211347" cy="161532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 smtClean="0">
                  <a:solidFill>
                    <a:schemeClr val="bg1"/>
                  </a:solidFill>
                  <a:latin typeface="Arial"/>
                </a:rPr>
                <a:t>24</a:t>
              </a:r>
              <a:endParaRPr lang="it-IT" sz="900" b="1" i="1" dirty="0">
                <a:solidFill>
                  <a:schemeClr val="bg1"/>
                </a:solidFill>
                <a:latin typeface="Arial"/>
              </a:endParaRPr>
            </a:p>
          </p:txBody>
        </p:sp>
        <p:sp>
          <p:nvSpPr>
            <p:cNvPr id="193" name="Rettangolo 19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0" y="5615528"/>
              <a:ext cx="21466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Recupero di </a:t>
              </a:r>
              <a:r>
                <a:rPr lang="it-IT" sz="1000" smtClean="0">
                  <a:solidFill>
                    <a:srgbClr val="000000"/>
                  </a:solidFill>
                  <a:latin typeface="Arial"/>
                </a:rPr>
                <a:t>2 edifici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4" name="Rettangolo 19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5615528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3,1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95" name="Rettangolo 19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5615528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5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8" name="Rettangolo 12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98217" y="2397725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5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7" name="Ovale 276">
              <a:extLst>
                <a:ext uri="{FF2B5EF4-FFF2-40B4-BE49-F238E27FC236}">
                  <a16:creationId xmlns="" xmlns:a16="http://schemas.microsoft.com/office/drawing/2014/main" id="{C3C8A05C-F259-4D6D-A06F-7A2180D5F124}"/>
                </a:ext>
              </a:extLst>
            </p:cNvPr>
            <p:cNvSpPr/>
            <p:nvPr/>
          </p:nvSpPr>
          <p:spPr bwMode="auto">
            <a:xfrm>
              <a:off x="9244905" y="493371"/>
              <a:ext cx="71030" cy="71030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78" name="CasellaDiTesto 277">
              <a:extLst>
                <a:ext uri="{FF2B5EF4-FFF2-40B4-BE49-F238E27FC236}">
                  <a16:creationId xmlns="" xmlns:a16="http://schemas.microsoft.com/office/drawing/2014/main" id="{42003807-F02D-4056-84DA-D30BA2E5FEE0}"/>
                </a:ext>
              </a:extLst>
            </p:cNvPr>
            <p:cNvSpPr txBox="1"/>
            <p:nvPr/>
          </p:nvSpPr>
          <p:spPr>
            <a:xfrm>
              <a:off x="9421760" y="451942"/>
              <a:ext cx="282129" cy="15388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2021</a:t>
              </a:r>
            </a:p>
          </p:txBody>
        </p:sp>
        <p:sp>
          <p:nvSpPr>
            <p:cNvPr id="819" name="Rettangolo 81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85748" y="677838"/>
              <a:ext cx="4869418" cy="21825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Tempistica 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0" name="Rettangolo 81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85748" y="922423"/>
              <a:ext cx="1606385" cy="16192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2019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1" name="Rettangolo 82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817264" y="922423"/>
              <a:ext cx="1606385" cy="16192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2020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2" name="Rettangolo 82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448780" y="922423"/>
              <a:ext cx="1606385" cy="16192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2021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5" name="Gruppo 18"/>
            <p:cNvGrpSpPr/>
            <p:nvPr/>
          </p:nvGrpSpPr>
          <p:grpSpPr>
            <a:xfrm>
              <a:off x="4164260" y="1131007"/>
              <a:ext cx="4903483" cy="5253694"/>
              <a:chOff x="4616040" y="1131007"/>
              <a:chExt cx="4175814" cy="5236246"/>
            </a:xfrm>
          </p:grpSpPr>
          <p:cxnSp>
            <p:nvCxnSpPr>
              <p:cNvPr id="832" name="Connettore 1 831"/>
              <p:cNvCxnSpPr/>
              <p:nvPr/>
            </p:nvCxnSpPr>
            <p:spPr bwMode="auto">
              <a:xfrm rot="5400000">
                <a:off x="3045670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4" name="Connettore 1 823"/>
              <p:cNvCxnSpPr/>
              <p:nvPr/>
            </p:nvCxnSpPr>
            <p:spPr bwMode="auto">
              <a:xfrm rot="5400000">
                <a:off x="2114334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5" name="Connettore 1 824"/>
              <p:cNvCxnSpPr/>
              <p:nvPr/>
            </p:nvCxnSpPr>
            <p:spPr bwMode="auto">
              <a:xfrm rot="5400000">
                <a:off x="2230751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6" name="Connettore 1 825"/>
              <p:cNvCxnSpPr/>
              <p:nvPr/>
            </p:nvCxnSpPr>
            <p:spPr bwMode="auto">
              <a:xfrm rot="5400000">
                <a:off x="2347168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7" name="Connettore 1 826"/>
              <p:cNvCxnSpPr/>
              <p:nvPr/>
            </p:nvCxnSpPr>
            <p:spPr bwMode="auto">
              <a:xfrm rot="5400000">
                <a:off x="2463585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8" name="Connettore 1 827"/>
              <p:cNvCxnSpPr/>
              <p:nvPr/>
            </p:nvCxnSpPr>
            <p:spPr bwMode="auto">
              <a:xfrm rot="5400000">
                <a:off x="2580002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9" name="Connettore 1 828"/>
              <p:cNvCxnSpPr/>
              <p:nvPr/>
            </p:nvCxnSpPr>
            <p:spPr bwMode="auto">
              <a:xfrm rot="5400000">
                <a:off x="2696419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0" name="Connettore 1 829"/>
              <p:cNvCxnSpPr/>
              <p:nvPr/>
            </p:nvCxnSpPr>
            <p:spPr bwMode="auto">
              <a:xfrm rot="5400000">
                <a:off x="2812836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1" name="Connettore 1 830"/>
              <p:cNvCxnSpPr/>
              <p:nvPr/>
            </p:nvCxnSpPr>
            <p:spPr bwMode="auto">
              <a:xfrm rot="5400000">
                <a:off x="2929253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3" name="Connettore 1 832"/>
              <p:cNvCxnSpPr/>
              <p:nvPr/>
            </p:nvCxnSpPr>
            <p:spPr bwMode="auto">
              <a:xfrm rot="5400000">
                <a:off x="3162087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4" name="Connettore 1 833"/>
              <p:cNvCxnSpPr/>
              <p:nvPr/>
            </p:nvCxnSpPr>
            <p:spPr bwMode="auto">
              <a:xfrm rot="5400000">
                <a:off x="3278504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5" name="Connettore 1 834"/>
              <p:cNvCxnSpPr/>
              <p:nvPr/>
            </p:nvCxnSpPr>
            <p:spPr bwMode="auto">
              <a:xfrm rot="5400000">
                <a:off x="3394917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9" name="Connettore 1 838"/>
              <p:cNvCxnSpPr/>
              <p:nvPr/>
            </p:nvCxnSpPr>
            <p:spPr bwMode="auto">
              <a:xfrm rot="5400000">
                <a:off x="3510421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1" name="Connettore 1 840"/>
              <p:cNvCxnSpPr/>
              <p:nvPr/>
            </p:nvCxnSpPr>
            <p:spPr bwMode="auto">
              <a:xfrm rot="5400000">
                <a:off x="3741429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2" name="Connettore 1 841"/>
              <p:cNvCxnSpPr/>
              <p:nvPr/>
            </p:nvCxnSpPr>
            <p:spPr bwMode="auto">
              <a:xfrm rot="5400000">
                <a:off x="3856933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4" name="Connettore 1 843"/>
              <p:cNvCxnSpPr/>
              <p:nvPr/>
            </p:nvCxnSpPr>
            <p:spPr bwMode="auto">
              <a:xfrm rot="5400000">
                <a:off x="4087941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5" name="Connettore 1 844"/>
              <p:cNvCxnSpPr/>
              <p:nvPr/>
            </p:nvCxnSpPr>
            <p:spPr bwMode="auto">
              <a:xfrm rot="5400000">
                <a:off x="4203445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6" name="Connettore 1 845"/>
              <p:cNvCxnSpPr/>
              <p:nvPr/>
            </p:nvCxnSpPr>
            <p:spPr bwMode="auto">
              <a:xfrm rot="5400000">
                <a:off x="4318949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7" name="Connettore 1 846"/>
              <p:cNvCxnSpPr/>
              <p:nvPr/>
            </p:nvCxnSpPr>
            <p:spPr bwMode="auto">
              <a:xfrm rot="5400000">
                <a:off x="4434453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8" name="Connettore 1 847"/>
              <p:cNvCxnSpPr/>
              <p:nvPr/>
            </p:nvCxnSpPr>
            <p:spPr bwMode="auto">
              <a:xfrm rot="5400000">
                <a:off x="4549957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9" name="Connettore 1 848"/>
              <p:cNvCxnSpPr/>
              <p:nvPr/>
            </p:nvCxnSpPr>
            <p:spPr bwMode="auto">
              <a:xfrm rot="5400000">
                <a:off x="4665461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50" name="Connettore 1 849"/>
              <p:cNvCxnSpPr/>
              <p:nvPr/>
            </p:nvCxnSpPr>
            <p:spPr bwMode="auto">
              <a:xfrm rot="5400000">
                <a:off x="4780964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5" name="Connettore 1 864"/>
              <p:cNvCxnSpPr/>
              <p:nvPr/>
            </p:nvCxnSpPr>
            <p:spPr bwMode="auto">
              <a:xfrm rot="5400000">
                <a:off x="1997917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7" name="Connettore 1 866"/>
              <p:cNvCxnSpPr/>
              <p:nvPr/>
            </p:nvCxnSpPr>
            <p:spPr bwMode="auto">
              <a:xfrm rot="5400000">
                <a:off x="4897028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8" name="Connettore 1 867"/>
              <p:cNvCxnSpPr/>
              <p:nvPr/>
            </p:nvCxnSpPr>
            <p:spPr bwMode="auto">
              <a:xfrm rot="5400000">
                <a:off x="5013092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9" name="Connettore 1 868"/>
              <p:cNvCxnSpPr/>
              <p:nvPr/>
            </p:nvCxnSpPr>
            <p:spPr bwMode="auto">
              <a:xfrm rot="5400000">
                <a:off x="5129156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0" name="Connettore 1 869"/>
              <p:cNvCxnSpPr/>
              <p:nvPr/>
            </p:nvCxnSpPr>
            <p:spPr bwMode="auto">
              <a:xfrm rot="5400000">
                <a:off x="5245220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1" name="Connettore 1 870"/>
              <p:cNvCxnSpPr/>
              <p:nvPr/>
            </p:nvCxnSpPr>
            <p:spPr bwMode="auto">
              <a:xfrm rot="5400000">
                <a:off x="5361284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2" name="Connettore 1 871"/>
              <p:cNvCxnSpPr/>
              <p:nvPr/>
            </p:nvCxnSpPr>
            <p:spPr bwMode="auto">
              <a:xfrm rot="5400000">
                <a:off x="5477348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3" name="Connettore 1 872"/>
              <p:cNvCxnSpPr/>
              <p:nvPr/>
            </p:nvCxnSpPr>
            <p:spPr bwMode="auto">
              <a:xfrm rot="5400000">
                <a:off x="5593412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4" name="Connettore 1 873"/>
              <p:cNvCxnSpPr/>
              <p:nvPr/>
            </p:nvCxnSpPr>
            <p:spPr bwMode="auto">
              <a:xfrm rot="5400000">
                <a:off x="5709476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5" name="Connettore 1 874"/>
              <p:cNvCxnSpPr/>
              <p:nvPr/>
            </p:nvCxnSpPr>
            <p:spPr bwMode="auto">
              <a:xfrm rot="5400000">
                <a:off x="5825540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6" name="Connettore 1 875"/>
              <p:cNvCxnSpPr/>
              <p:nvPr/>
            </p:nvCxnSpPr>
            <p:spPr bwMode="auto">
              <a:xfrm rot="5400000">
                <a:off x="5941604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7" name="Connettore 1 876"/>
              <p:cNvCxnSpPr/>
              <p:nvPr/>
            </p:nvCxnSpPr>
            <p:spPr bwMode="auto">
              <a:xfrm rot="5400000">
                <a:off x="6057668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8" name="Connettore 1 877"/>
              <p:cNvCxnSpPr/>
              <p:nvPr/>
            </p:nvCxnSpPr>
            <p:spPr bwMode="auto">
              <a:xfrm rot="5400000">
                <a:off x="6173731" y="3749131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0" name="Connettore 1 839"/>
              <p:cNvCxnSpPr/>
              <p:nvPr/>
            </p:nvCxnSpPr>
            <p:spPr bwMode="auto">
              <a:xfrm rot="5400000">
                <a:off x="3625925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3" name="Connettore 1 842"/>
              <p:cNvCxnSpPr/>
              <p:nvPr/>
            </p:nvCxnSpPr>
            <p:spPr bwMode="auto">
              <a:xfrm rot="5400000">
                <a:off x="3972437" y="3749130"/>
                <a:ext cx="5236245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</p:grpSp>
        <p:sp>
          <p:nvSpPr>
            <p:cNvPr id="137" name="Rettangolo 13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199442" y="1240981"/>
              <a:ext cx="550126" cy="106807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9" name="Rettangolo 13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82" y="1547296"/>
              <a:ext cx="4747050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42" name="Rettangolo 14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740506" y="1237211"/>
              <a:ext cx="1018030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  <a:defRPr/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onsegna ultimi alloggi</a:t>
              </a:r>
              <a:endParaRPr lang="it-IT" sz="7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9" name="Rettangolo 14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2078334"/>
              <a:ext cx="3416870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4" name="Rombo 15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38872" y="207833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5" name="Rettangolo 15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982078" y="2180908"/>
              <a:ext cx="58509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 def.v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pprovat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6" name="Rombo 15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594458" y="207833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7" name="Rettangolo 15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88049" y="1869029"/>
              <a:ext cx="884364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 esec.va conclus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8" name="Rombo 15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853055" y="207833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9" name="Rettangolo 15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652963" y="2193732"/>
              <a:ext cx="46866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Nulla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ost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genio </a:t>
              </a: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civile</a:t>
              </a:r>
            </a:p>
          </p:txBody>
        </p:sp>
        <p:sp>
          <p:nvSpPr>
            <p:cNvPr id="167" name="Rettangolo 16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944365" y="1869029"/>
              <a:ext cx="270574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172" name="Rettangolo 17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500286" y="2925903"/>
              <a:ext cx="3967875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5" name="Rettangolo 17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73872" y="3033928"/>
              <a:ext cx="671178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esec.va conclusa</a:t>
              </a:r>
            </a:p>
          </p:txBody>
        </p:sp>
        <p:sp>
          <p:nvSpPr>
            <p:cNvPr id="180" name="Rettangolo 17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864894" y="3033928"/>
              <a:ext cx="334752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Verifica</a:t>
              </a:r>
            </a:p>
          </p:txBody>
        </p:sp>
        <p:sp>
          <p:nvSpPr>
            <p:cNvPr id="183" name="Rettangolo 18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60044" y="3293724"/>
              <a:ext cx="490769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5" name="Rettangolo 18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083360" y="3403750"/>
              <a:ext cx="69806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 approvat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8" name="Rettangolo 18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093036" y="3403750"/>
              <a:ext cx="718145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 esecutiv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15" name="Rettangolo 21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5653883"/>
              <a:ext cx="4928626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0" name="Rettangolo 21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527424" y="2072513"/>
              <a:ext cx="2315255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0" name="Rombo 16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043197" y="207833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1" name="Rettangolo 22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283616" y="2188671"/>
              <a:ext cx="502824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 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28" name="Rettangolo 22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3722349"/>
              <a:ext cx="491604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30" name="Rettangolo 22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074056" y="3835549"/>
              <a:ext cx="707370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esec.v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a aggiornare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33" name="Rettangolo 23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906667" y="3835549"/>
              <a:ext cx="1023614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esecutiva</a:t>
              </a:r>
            </a:p>
          </p:txBody>
        </p:sp>
        <p:sp>
          <p:nvSpPr>
            <p:cNvPr id="234" name="Rettangolo arrotondato 23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730244" y="3528004"/>
              <a:ext cx="1001555" cy="179103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i="1" dirty="0" smtClean="0">
                  <a:solidFill>
                    <a:srgbClr val="000000"/>
                  </a:solidFill>
                  <a:latin typeface="Arial"/>
                </a:rPr>
                <a:t>Alloggi occupati</a:t>
              </a:r>
              <a:endParaRPr lang="it-IT" sz="1000" i="1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235" name="Connettore 2 234"/>
            <p:cNvCxnSpPr>
              <a:stCxn id="234" idx="1"/>
            </p:cNvCxnSpPr>
            <p:nvPr/>
          </p:nvCxnSpPr>
          <p:spPr bwMode="auto">
            <a:xfrm flipH="1">
              <a:off x="6249268" y="3617556"/>
              <a:ext cx="480976" cy="9771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240" name="Rettangolo 23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025381" y="3722349"/>
              <a:ext cx="2042361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1" name="Rettangolo 24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4079141"/>
              <a:ext cx="491604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50" name="Rettangolo 24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721366" y="4079141"/>
              <a:ext cx="2346373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51" name="Rettangolo 25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88898" y="6048325"/>
              <a:ext cx="1595330" cy="30777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 cap="flat" cmpd="sng" algn="ctr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spcAft>
                  <a:spcPts val="0"/>
                </a:spcAft>
                <a:defRPr/>
              </a:pPr>
              <a:r>
                <a:rPr lang="it-IT" sz="1000" i="1" dirty="0" smtClean="0">
                  <a:solidFill>
                    <a:srgbClr val="000000"/>
                  </a:solidFill>
                  <a:latin typeface="Arial"/>
                </a:rPr>
                <a:t>Eseguito studio di fattibilità (2018)</a:t>
              </a:r>
              <a:endParaRPr lang="it-IT" sz="1000" b="1" i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52" name="Rettangolo 25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232401" y="6062797"/>
              <a:ext cx="1835338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2" name="Rettangolo 26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880069" y="6062797"/>
              <a:ext cx="187670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3" name="Rettangolo 26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4474456"/>
              <a:ext cx="491604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7" name="Rettangolo 26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376429" y="4581838"/>
              <a:ext cx="780412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ettazione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esecutiv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0" name="Rettangolo 26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721366" y="4465989"/>
              <a:ext cx="2346373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2" name="Rettangolo 28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879431" y="3293724"/>
              <a:ext cx="2186784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4" name="Rettangolo 28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920398" y="3403750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286" name="Rettangolo 28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648499" y="3403750"/>
              <a:ext cx="467122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lavori</a:t>
              </a:r>
            </a:p>
          </p:txBody>
        </p:sp>
        <p:sp>
          <p:nvSpPr>
            <p:cNvPr id="288" name="Rettangolo 28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36031" y="2819817"/>
              <a:ext cx="919388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Nulla osta genio civile</a:t>
              </a:r>
            </a:p>
          </p:txBody>
        </p:sp>
        <p:sp>
          <p:nvSpPr>
            <p:cNvPr id="290" name="Rettangolo 28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389025" y="2819817"/>
              <a:ext cx="425988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293" name="Rettangolo 29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001591" y="2925903"/>
              <a:ext cx="2458116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2" name="Rettangolo 29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767346" y="3033928"/>
              <a:ext cx="488199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lavori</a:t>
              </a:r>
            </a:p>
          </p:txBody>
        </p:sp>
        <p:sp>
          <p:nvSpPr>
            <p:cNvPr id="274" name="Rettangolo 27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497513" y="1115704"/>
              <a:ext cx="1310629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  <a:defRPr/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ambio destinazione d’uso</a:t>
              </a:r>
              <a:endParaRPr lang="it-IT" sz="7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1" name="Rettangolo 28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436904" y="1240981"/>
              <a:ext cx="762537" cy="10680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38" name="Rombo 13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499805" y="2081533"/>
              <a:ext cx="72776" cy="106807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7" name="Rombo 28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162520" y="1240981"/>
              <a:ext cx="72776" cy="106807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7" name="Rombo 29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680680" y="1202953"/>
              <a:ext cx="108000" cy="162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8" name="Rombo 29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855680" y="1520296"/>
              <a:ext cx="108000" cy="162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9" name="Rettangolo 29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839180" y="2076681"/>
              <a:ext cx="1018030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  <a:defRPr/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onsegna ultimi alloggi</a:t>
              </a:r>
              <a:endParaRPr lang="it-IT" sz="7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0" name="Rombo 29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779354" y="2042423"/>
              <a:ext cx="108000" cy="162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5" name="Rettangolo 30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176631" y="2500280"/>
              <a:ext cx="689291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  <a:defRPr/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onsegna alloggi</a:t>
              </a:r>
              <a:endParaRPr lang="it-IT" sz="7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1" name="Rettangolo 16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2493624"/>
              <a:ext cx="3565738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8" name="Rettangolo 17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007020" y="2605807"/>
              <a:ext cx="48813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Nulla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ost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genio </a:t>
              </a: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civile</a:t>
              </a:r>
            </a:p>
          </p:txBody>
        </p:sp>
        <p:sp>
          <p:nvSpPr>
            <p:cNvPr id="223" name="Rettangolo 22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666047" y="2493624"/>
              <a:ext cx="2460251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25" name="Rettangolo 22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546096" y="2605807"/>
              <a:ext cx="238754" cy="23083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</a:p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9" name="Rettangolo 18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648833" y="1681575"/>
              <a:ext cx="474784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onsegn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llogg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1" name="Rombo 30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210904" y="249362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4" name="Rombo 30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630720" y="249362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6" name="Rombo 30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061930" y="2466022"/>
              <a:ext cx="108000" cy="162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7" name="Rombo 30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566802" y="293082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8" name="Rombo 30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975680" y="293082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9" name="Rombo 30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752115" y="291891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0" name="Rombo 30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949759" y="291891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1" name="Rombo 31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463984" y="291891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2" name="Rettangolo 31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526348" y="2868084"/>
              <a:ext cx="407163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  <a:defRPr/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onsegn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lloggi</a:t>
              </a:r>
              <a:endParaRPr lang="it-IT" sz="7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3" name="Rombo 31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408528" y="2900362"/>
              <a:ext cx="108000" cy="162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4" name="Rombo 31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29658" y="329610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8" name="Rettangolo 11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3247283"/>
              <a:ext cx="531395" cy="32521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4,3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5" name="Rombo 31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426308" y="330229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6" name="Rombo 31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133540" y="330229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7" name="Rombo 31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843598" y="330229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8" name="Rombo 31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29658" y="372155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9" name="Rombo 31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399658" y="372155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0" name="Rettangolo 31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345848" y="3835549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21" name="Rettangolo 32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797278" y="3835549"/>
              <a:ext cx="467122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lavori</a:t>
              </a:r>
            </a:p>
          </p:txBody>
        </p:sp>
        <p:sp>
          <p:nvSpPr>
            <p:cNvPr id="322" name="Rombo 32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558990" y="371504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3" name="Rombo 32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992377" y="371504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4" name="Rettangolo 32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45186" y="4183213"/>
              <a:ext cx="707370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a aggiornare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5" name="Rombo 32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650358" y="4079141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6" name="Rettangolo 32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128917" y="4183213"/>
              <a:ext cx="1023614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esecutiva</a:t>
              </a:r>
            </a:p>
          </p:txBody>
        </p:sp>
        <p:sp>
          <p:nvSpPr>
            <p:cNvPr id="327" name="Rombo 32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621908" y="4079141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8" name="Rettangolo 32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048986" y="4183213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29" name="Rettangolo 32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500416" y="4183213"/>
              <a:ext cx="467122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0" name="Rombo 32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262128" y="4079141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1" name="Rombo 33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695515" y="4079141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58" name="Rombo 35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199884" y="6062797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1" name="Rettangolo 36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493678" y="6170439"/>
              <a:ext cx="558047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ettazione esecutiv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2" name="Rombo 36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740427" y="6062797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3" name="Rettangolo 36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879315" y="6170439"/>
              <a:ext cx="558047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ettazione definitiv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4" name="Rettangolo 36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055586" y="6170439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65" name="Rettangolo 36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742709" y="6170439"/>
              <a:ext cx="289372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7" name="Rombo 36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268728" y="6062797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8" name="Rombo 36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848933" y="6062797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9" name="Rombo 36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682108" y="446812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0" name="Rombo 36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745733" y="446812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2" name="Rombo 37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260083" y="446812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4" name="Rettangolo 37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64236" y="4581838"/>
              <a:ext cx="707370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a aggiornare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3" name="Rombo 37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682358" y="446812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5" name="Rettangolo 37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087086" y="4581838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77" name="Rettangolo 37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518613" y="4581838"/>
              <a:ext cx="428288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379" name="Connettore 2 378"/>
            <p:cNvCxnSpPr/>
            <p:nvPr/>
          </p:nvCxnSpPr>
          <p:spPr bwMode="auto">
            <a:xfrm flipH="1" flipV="1">
              <a:off x="6093898" y="5737260"/>
              <a:ext cx="518580" cy="11939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80" name="Rettangolo 37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083359" y="5766119"/>
              <a:ext cx="829733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 esecutiva approvata nel 2013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1" name="Rombo 38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22515" y="5649927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2" name="Rettangolo 38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3500" y="6453336"/>
              <a:ext cx="4444192" cy="40612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spcAft>
                  <a:spcPts val="20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 *  Con fondi ATER, già finanziato</a:t>
              </a:r>
            </a:p>
            <a:p>
              <a:pPr eaLnBrk="0" hangingPunct="0">
                <a:spcAft>
                  <a:spcPts val="20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** I fondi saranno identificati a valere sulle economie dell’intero finanziament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69" name="Rettangolo 26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4806704"/>
              <a:ext cx="1480432" cy="39602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Ponte di Non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arto </a:t>
              </a: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19</a:t>
              </a:r>
            </a:p>
          </p:txBody>
        </p:sp>
        <p:sp>
          <p:nvSpPr>
            <p:cNvPr id="271" name="Rettangolo 270">
              <a:extLst>
                <a:ext uri="{FF2B5EF4-FFF2-40B4-BE49-F238E27FC236}">
                  <a16:creationId xmlns="" xmlns:a16="http://schemas.microsoft.com/office/drawing/2014/main" id="{D7D7B35D-FF31-4E5D-9996-34C533975D7A}"/>
                </a:ext>
              </a:extLst>
            </p:cNvPr>
            <p:cNvSpPr/>
            <p:nvPr/>
          </p:nvSpPr>
          <p:spPr bwMode="auto">
            <a:xfrm>
              <a:off x="1368521" y="5041201"/>
              <a:ext cx="211347" cy="161532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3</a:t>
              </a:r>
            </a:p>
          </p:txBody>
        </p:sp>
        <p:sp>
          <p:nvSpPr>
            <p:cNvPr id="272" name="Rettangolo 27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5227674"/>
              <a:ext cx="1480432" cy="361566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Ponte di Non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arto </a:t>
              </a: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15-17</a:t>
              </a:r>
            </a:p>
          </p:txBody>
        </p:sp>
        <p:sp>
          <p:nvSpPr>
            <p:cNvPr id="273" name="Rettangolo 272">
              <a:extLst>
                <a:ext uri="{FF2B5EF4-FFF2-40B4-BE49-F238E27FC236}">
                  <a16:creationId xmlns="" xmlns:a16="http://schemas.microsoft.com/office/drawing/2014/main" id="{3F10F1A0-2E1C-4AE7-81AE-64EB331C86A7}"/>
                </a:ext>
              </a:extLst>
            </p:cNvPr>
            <p:cNvSpPr/>
            <p:nvPr/>
          </p:nvSpPr>
          <p:spPr bwMode="auto">
            <a:xfrm>
              <a:off x="1368521" y="5427708"/>
              <a:ext cx="211347" cy="161532"/>
            </a:xfrm>
            <a:prstGeom prst="rect">
              <a:avLst/>
            </a:prstGeom>
            <a:solidFill>
              <a:schemeClr val="accent6"/>
            </a:solidFill>
            <a:ln w="9525" cap="flat" cmpd="sng" algn="ctr">
              <a:solidFill>
                <a:schemeClr val="accent6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7</a:t>
              </a:r>
            </a:p>
          </p:txBody>
        </p:sp>
        <p:sp>
          <p:nvSpPr>
            <p:cNvPr id="283" name="Rettangolo 28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4806704"/>
              <a:ext cx="19688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ambio destinazione d’us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5" name="Rettangolo 28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5227673"/>
              <a:ext cx="1968850" cy="3390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Cambio 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destinazione </a:t>
              </a: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d’uso</a:t>
              </a:r>
            </a:p>
          </p:txBody>
        </p:sp>
        <p:sp>
          <p:nvSpPr>
            <p:cNvPr id="289" name="Rettangolo 28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4806704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3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1" name="Rettangolo 29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5227673"/>
              <a:ext cx="531395" cy="3390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0,9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4" name="Rettangolo 29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4806704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9 mes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5" name="Rettangolo 29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5227673"/>
              <a:ext cx="686939" cy="33904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6 mes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6" name="Rettangolo 29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4823092"/>
              <a:ext cx="4928626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6" name="Rettangolo 33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5242309"/>
              <a:ext cx="4928626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337" name="Connettore 2 336"/>
            <p:cNvCxnSpPr/>
            <p:nvPr/>
          </p:nvCxnSpPr>
          <p:spPr bwMode="auto">
            <a:xfrm flipH="1" flipV="1">
              <a:off x="5334000" y="4952122"/>
              <a:ext cx="304800" cy="177275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cxnSp>
          <p:nvCxnSpPr>
            <p:cNvPr id="339" name="Connettore 2 338"/>
            <p:cNvCxnSpPr/>
            <p:nvPr/>
          </p:nvCxnSpPr>
          <p:spPr bwMode="auto">
            <a:xfrm flipH="1">
              <a:off x="5350933" y="5155289"/>
              <a:ext cx="299668" cy="11010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triangle"/>
            </a:ln>
            <a:effectLst/>
          </p:spPr>
        </p:cxnSp>
        <p:sp>
          <p:nvSpPr>
            <p:cNvPr id="340" name="Rettangolo 33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577809" y="4823092"/>
              <a:ext cx="1502511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2" name="Rettangolo 34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696199" y="5242309"/>
              <a:ext cx="1370015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3" name="Rettangolo 34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083360" y="4924227"/>
              <a:ext cx="69806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 approvat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45" name="Rombo 34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29658" y="4816585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46" name="Rettangolo 34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886196" y="4927402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57" name="Rettangolo 35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337626" y="4929783"/>
              <a:ext cx="467122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59" name="Rombo 35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099338" y="482333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0" name="Rombo 35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532725" y="482333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1" name="Rettangolo arrotondato 37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628873" y="5042656"/>
              <a:ext cx="1001555" cy="179103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i="1" dirty="0" smtClean="0">
                  <a:solidFill>
                    <a:srgbClr val="000000"/>
                  </a:solidFill>
                  <a:latin typeface="Arial"/>
                </a:rPr>
                <a:t>Alloggi occupati</a:t>
              </a:r>
              <a:endParaRPr lang="it-IT" sz="1000" i="1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3" name="Rettangolo 38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083360" y="5350657"/>
              <a:ext cx="69806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 approvat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4" name="Rombo 38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29658" y="524230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5" name="Rettangolo 38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105710" y="5350657"/>
              <a:ext cx="69806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</a:t>
              </a: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esec.va approvat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6" name="Rombo 38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132958" y="524230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87" name="Rettangolo 38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036782" y="5352852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88" name="Rettangolo 38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473016" y="5359698"/>
              <a:ext cx="556261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 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9" name="Rombo 38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234930" y="524230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0" name="Rombo 38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668116" y="5242309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1" name="Rettangolo 39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13448" y="2605807"/>
              <a:ext cx="671178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esec.va conclusa</a:t>
              </a:r>
            </a:p>
          </p:txBody>
        </p:sp>
        <p:sp>
          <p:nvSpPr>
            <p:cNvPr id="392" name="Rombo 39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874698" y="249346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3" name="Rettangolo 39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361951" y="5766119"/>
              <a:ext cx="746749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ggiornament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 esecutiva 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4" name="Rombo 39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707475" y="5649927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5" name="Rettangolo 39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018114" y="5766119"/>
              <a:ext cx="47040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gare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6" name="Rombo 39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216262" y="5653883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7" name="Rettangolo 39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696199" y="5655059"/>
              <a:ext cx="1370015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98" name="Rettangolo 39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473016" y="5766119"/>
              <a:ext cx="556261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 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9" name="Rombo 39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668116" y="5653883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8" name="Rettangolo arrotondato 37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209305" y="5845260"/>
              <a:ext cx="641574" cy="316101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i="1" dirty="0" smtClean="0">
                  <a:solidFill>
                    <a:srgbClr val="000000"/>
                  </a:solidFill>
                  <a:latin typeface="Arial"/>
                </a:rPr>
                <a:t>Alloggi</a:t>
              </a:r>
              <a:br>
                <a:rPr lang="it-IT" sz="1000" i="1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1000" i="1" dirty="0" smtClean="0">
                  <a:solidFill>
                    <a:srgbClr val="000000"/>
                  </a:solidFill>
                  <a:latin typeface="Arial"/>
                </a:rPr>
                <a:t>occupati</a:t>
              </a:r>
              <a:endParaRPr lang="it-IT" sz="1000" i="1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807" name="Connettore 1 806"/>
            <p:cNvCxnSpPr/>
            <p:nvPr/>
          </p:nvCxnSpPr>
          <p:spPr bwMode="auto">
            <a:xfrm>
              <a:off x="1600200" y="1475904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09" name="Connettore 1 808"/>
            <p:cNvCxnSpPr/>
            <p:nvPr/>
          </p:nvCxnSpPr>
          <p:spPr bwMode="auto">
            <a:xfrm>
              <a:off x="1600200" y="2375730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0" name="Connettore 1 809"/>
            <p:cNvCxnSpPr/>
            <p:nvPr/>
          </p:nvCxnSpPr>
          <p:spPr bwMode="auto">
            <a:xfrm>
              <a:off x="1600200" y="2800509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1" name="Connettore 1 810"/>
            <p:cNvCxnSpPr/>
            <p:nvPr/>
          </p:nvCxnSpPr>
          <p:spPr bwMode="auto">
            <a:xfrm>
              <a:off x="1600200" y="3229588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2" name="Connettore 1 811"/>
            <p:cNvCxnSpPr/>
            <p:nvPr/>
          </p:nvCxnSpPr>
          <p:spPr bwMode="auto">
            <a:xfrm>
              <a:off x="1600200" y="3598632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3" name="Connettore 1 812"/>
            <p:cNvCxnSpPr/>
            <p:nvPr/>
          </p:nvCxnSpPr>
          <p:spPr bwMode="auto">
            <a:xfrm>
              <a:off x="1600200" y="4032301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4" name="Connettore 1 813"/>
            <p:cNvCxnSpPr/>
            <p:nvPr/>
          </p:nvCxnSpPr>
          <p:spPr bwMode="auto">
            <a:xfrm>
              <a:off x="1600200" y="4415170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6" name="Connettore 1 815"/>
            <p:cNvCxnSpPr/>
            <p:nvPr/>
          </p:nvCxnSpPr>
          <p:spPr bwMode="auto">
            <a:xfrm>
              <a:off x="1600200" y="5219008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92" name="Connettore 1 191"/>
            <p:cNvCxnSpPr/>
            <p:nvPr/>
          </p:nvCxnSpPr>
          <p:spPr bwMode="auto">
            <a:xfrm>
              <a:off x="1600200" y="6006582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7" name="Connettore 1 816"/>
            <p:cNvCxnSpPr/>
            <p:nvPr/>
          </p:nvCxnSpPr>
          <p:spPr bwMode="auto">
            <a:xfrm>
              <a:off x="1600200" y="5616692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5" name="Connettore 1 814"/>
            <p:cNvCxnSpPr/>
            <p:nvPr/>
          </p:nvCxnSpPr>
          <p:spPr bwMode="auto">
            <a:xfrm>
              <a:off x="1600200" y="4808199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37126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135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79" name="Diapositiva think-cell" r:id="rId5" imgW="360" imgH="360" progId="">
                  <p:embed/>
                </p:oleObj>
              </mc:Choice>
              <mc:Fallback>
                <p:oleObj name="Diapositiva think-cell" r:id="rId5" imgW="360" imgH="360" progId="">
                  <p:embed/>
                  <p:pic>
                    <p:nvPicPr>
                      <p:cNvPr id="0" name="Picture 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tango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0" fontAlgn="base" latinLnBrk="0" hangingPunct="0">
              <a:buClrTx/>
              <a:buSzTx/>
              <a:buFontTx/>
              <a:buNone/>
              <a:tabLst/>
            </a:pPr>
            <a:endParaRPr kumimoji="0" lang="it-IT" sz="1800" b="1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Verdana"/>
              <a:ea typeface="+mj-ea"/>
              <a:cs typeface="+mj-cs"/>
              <a:sym typeface="Verdana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6088"/>
            <a:r>
              <a:rPr lang="it-IT" altLang="en-US" dirty="0" smtClean="0"/>
              <a:t>Perché </a:t>
            </a:r>
            <a:r>
              <a:rPr lang="it-IT" altLang="en-US" dirty="0" err="1" smtClean="0"/>
              <a:t>Invitalia</a:t>
            </a:r>
            <a:r>
              <a:rPr lang="it-IT" altLang="en-US" dirty="0" smtClean="0"/>
              <a:t>?</a:t>
            </a:r>
            <a:endParaRPr lang="it-IT" dirty="0"/>
          </a:p>
        </p:txBody>
      </p:sp>
      <p:sp>
        <p:nvSpPr>
          <p:cNvPr id="42" name="Titolo 1"/>
          <p:cNvSpPr txBox="1">
            <a:spLocks/>
          </p:cNvSpPr>
          <p:nvPr/>
        </p:nvSpPr>
        <p:spPr bwMode="auto">
          <a:xfrm>
            <a:off x="0" y="1052736"/>
            <a:ext cx="9849544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719138" marR="0" lvl="0" indent="-273050" algn="l" defTabSz="914400" rtl="0" eaLnBrk="0" fontAlgn="base" latinLnBrk="0" hangingPunct="0">
              <a:spcBef>
                <a:spcPts val="1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it-IT" altLang="en-US" sz="2000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Times New Roman" pitchFamily="18" charset="0"/>
            </a:endParaRPr>
          </a:p>
          <a:p>
            <a:pPr marL="719138" indent="-273050" eaLnBrk="0" hangingPunct="0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it-IT" altLang="en-US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Il Codice dei Contratti Pubblici individua </a:t>
            </a:r>
            <a:r>
              <a:rPr lang="it-IT" altLang="en-US" sz="2000" kern="0" dirty="0" err="1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Invitalia</a:t>
            </a:r>
            <a:r>
              <a:rPr lang="it-IT" altLang="en-US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 – insieme a </a:t>
            </a:r>
            <a:r>
              <a:rPr lang="it-IT" altLang="en-US" sz="2000" kern="0" dirty="0" err="1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Consip</a:t>
            </a:r>
            <a:r>
              <a:rPr lang="it-IT" altLang="en-US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 S.p.A. – come Centrale di Committenza qualificata, iscritta nell’elenco ANAC </a:t>
            </a:r>
          </a:p>
          <a:p>
            <a:pPr marL="719138" lvl="0" indent="-273050" eaLnBrk="0" hangingPunct="0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it-IT" altLang="en-US" sz="2000" kern="0" dirty="0" err="1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Invitalia</a:t>
            </a:r>
            <a:r>
              <a:rPr lang="it-IT" altLang="en-US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 è il primo </a:t>
            </a:r>
            <a:r>
              <a:rPr lang="it-IT" altLang="en-US" sz="2000" kern="0" dirty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soggetto pubblico nazionale ad aver avviato attività di Centrale di Committenza per la realizzazione di opere </a:t>
            </a:r>
            <a:r>
              <a:rPr lang="it-IT" altLang="en-US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pubbliche, utilizzando un’apposita piattaforma</a:t>
            </a:r>
            <a:r>
              <a:rPr lang="it-IT" altLang="en-US" sz="2000" i="1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 e-</a:t>
            </a:r>
            <a:r>
              <a:rPr lang="it-IT" altLang="en-US" sz="2000" i="1" kern="0" dirty="0" err="1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procurement</a:t>
            </a:r>
            <a:r>
              <a:rPr lang="it-IT" altLang="en-US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;</a:t>
            </a:r>
            <a:endParaRPr lang="it-IT" altLang="en-US" sz="2000" kern="0" dirty="0">
              <a:solidFill>
                <a:schemeClr val="tx2">
                  <a:lumMod val="50000"/>
                </a:schemeClr>
              </a:solidFill>
              <a:latin typeface="+mj-lt"/>
              <a:ea typeface="MS PGothic" pitchFamily="34" charset="-128"/>
              <a:cs typeface="Times New Roman" pitchFamily="18" charset="0"/>
            </a:endParaRPr>
          </a:p>
          <a:p>
            <a:pPr marL="719138" marR="0" lvl="0" indent="-273050" algn="l" defTabSz="914400" rtl="0" eaLnBrk="0" fontAlgn="base" latinLnBrk="0" hangingPunct="0">
              <a:spcBef>
                <a:spcPts val="12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it-IT" sz="2000" u="none" strike="noStrike" kern="0" cap="none" spc="0" normalizeH="0" noProof="0" dirty="0" err="1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Invitalia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,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dall’avvio delle attività ha sempre operato nell’ambito di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Protocolli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di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Vigilanza Collaborativa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con ANAC, consolidando prassi ampiamente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collaudate </a:t>
            </a:r>
            <a:r>
              <a:rPr lang="it-IT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che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 assicurano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trasparenza e </a:t>
            </a:r>
            <a:r>
              <a:rPr kumimoji="0" lang="it-IT" sz="2000" u="none" strike="noStrike" kern="0" cap="none" spc="0" normalizeH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  <a:ea typeface="MS PGothic" pitchFamily="34" charset="-128"/>
                <a:cs typeface="Times New Roman" pitchFamily="18" charset="0"/>
              </a:rPr>
              <a:t>legalità; </a:t>
            </a:r>
            <a:endParaRPr kumimoji="0" lang="it-IT" sz="2000" u="none" strike="noStrike" kern="0" cap="none" spc="0" normalizeH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Times New Roman" pitchFamily="18" charset="0"/>
            </a:endParaRPr>
          </a:p>
          <a:p>
            <a:pPr marL="446088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it-IT" sz="2000" u="none" strike="noStrike" kern="0" cap="none" spc="0" normalizeH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  <a:ea typeface="MS PGothic" pitchFamily="34" charset="-128"/>
              <a:cs typeface="Times New Roman" pitchFamily="18" charset="0"/>
            </a:endParaRPr>
          </a:p>
          <a:p>
            <a:pPr marL="719138" lvl="0" indent="-273050" eaLnBrk="0" hangingPunct="0">
              <a:buFont typeface="Arial" pitchFamily="34" charset="0"/>
              <a:buChar char="•"/>
              <a:defRPr/>
            </a:pPr>
            <a:r>
              <a:rPr lang="it-IT" sz="2000" kern="0" dirty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Negli ultimi due anni </a:t>
            </a:r>
            <a:r>
              <a:rPr lang="it-IT" sz="2000" kern="0" dirty="0" err="1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Invitalia</a:t>
            </a:r>
            <a:r>
              <a:rPr lang="it-IT" sz="2000" kern="0" dirty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 ha </a:t>
            </a:r>
            <a:r>
              <a:rPr lang="it-IT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attivato oltre 210 procedure di affidamento per </a:t>
            </a:r>
            <a:r>
              <a:rPr lang="it-IT" sz="2000" kern="0" dirty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un valore di </a:t>
            </a:r>
            <a:r>
              <a:rPr lang="it-IT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circa 520 </a:t>
            </a:r>
            <a:r>
              <a:rPr lang="it-IT" sz="2000" kern="0" dirty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mln/</a:t>
            </a:r>
            <a:r>
              <a:rPr lang="it-IT" sz="2000" kern="0" dirty="0" smtClean="0">
                <a:solidFill>
                  <a:schemeClr val="tx2">
                    <a:lumMod val="50000"/>
                  </a:schemeClr>
                </a:solidFill>
                <a:latin typeface="+mj-lt"/>
                <a:ea typeface="MS PGothic" pitchFamily="34" charset="-128"/>
                <a:cs typeface="Times New Roman" pitchFamily="18" charset="0"/>
              </a:rPr>
              <a:t>€</a:t>
            </a:r>
            <a:endParaRPr lang="it-IT" sz="2000" kern="0" dirty="0">
              <a:solidFill>
                <a:schemeClr val="tx2">
                  <a:lumMod val="50000"/>
                </a:schemeClr>
              </a:solidFill>
              <a:latin typeface="+mj-lt"/>
              <a:ea typeface="MS PGothic" pitchFamily="34" charset="-128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30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3500" y="42094"/>
            <a:ext cx="9714036" cy="615553"/>
          </a:xfrm>
        </p:spPr>
        <p:txBody>
          <a:bodyPr/>
          <a:lstStyle/>
          <a:p>
            <a:pPr marL="361950"/>
            <a:r>
              <a:rPr lang="it-IT" sz="2000" dirty="0" smtClean="0"/>
              <a:t>Piano </a:t>
            </a:r>
            <a:r>
              <a:rPr lang="it-IT" sz="2000" dirty="0"/>
              <a:t>triennale sui nuovi </a:t>
            </a:r>
            <a:r>
              <a:rPr lang="it-IT" sz="2000" dirty="0" smtClean="0"/>
              <a:t>alloggi:</a:t>
            </a:r>
            <a:br>
              <a:rPr lang="it-IT" sz="2000" dirty="0" smtClean="0"/>
            </a:br>
            <a:r>
              <a:rPr lang="it-IT" sz="2000" dirty="0" smtClean="0"/>
              <a:t>progetti </a:t>
            </a:r>
            <a:r>
              <a:rPr lang="it-IT" sz="2000" dirty="0"/>
              <a:t>concreti totalmente finanziati e monitorati</a:t>
            </a:r>
          </a:p>
        </p:txBody>
      </p:sp>
      <p:sp>
        <p:nvSpPr>
          <p:cNvPr id="787" name="Rectangle 60">
            <a:extLst>
              <a:ext uri="{FF2B5EF4-FFF2-40B4-BE49-F238E27FC236}">
                <a16:creationId xmlns="" xmlns:a16="http://schemas.microsoft.com/office/drawing/2014/main" id="{C719F9ED-1D94-4E5D-8017-24190E6FC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09" y="107107"/>
            <a:ext cx="257385" cy="256700"/>
          </a:xfrm>
          <a:prstGeom prst="ellipse">
            <a:avLst/>
          </a:prstGeom>
          <a:solidFill>
            <a:schemeClr val="accent1"/>
          </a:solidFill>
          <a:ln w="9525" algn="ctr">
            <a:solidFill>
              <a:schemeClr val="accent1">
                <a:lumMod val="50000"/>
              </a:schemeClr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it-IT" sz="1800" b="1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1</a:t>
            </a:r>
            <a:endParaRPr lang="it-IT" sz="1800" b="1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75" name="Ovale 274">
            <a:extLst>
              <a:ext uri="{FF2B5EF4-FFF2-40B4-BE49-F238E27FC236}">
                <a16:creationId xmlns="" xmlns:a16="http://schemas.microsoft.com/office/drawing/2014/main" id="{36858B03-B4D9-4C53-AF92-C3382A7321ED}"/>
              </a:ext>
            </a:extLst>
          </p:cNvPr>
          <p:cNvSpPr/>
          <p:nvPr/>
        </p:nvSpPr>
        <p:spPr bwMode="auto">
          <a:xfrm>
            <a:off x="9244905" y="117953"/>
            <a:ext cx="71030" cy="7103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accent2">
                <a:lumMod val="75000"/>
              </a:schemeClr>
            </a:solidFill>
          </a:ln>
          <a:effectLst/>
          <a:ex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76" name="CasellaDiTesto 275">
            <a:extLst>
              <a:ext uri="{FF2B5EF4-FFF2-40B4-BE49-F238E27FC236}">
                <a16:creationId xmlns="" xmlns:a16="http://schemas.microsoft.com/office/drawing/2014/main" id="{B7FBC9CA-039F-498B-9A32-2166FCD1BE22}"/>
              </a:ext>
            </a:extLst>
          </p:cNvPr>
          <p:cNvSpPr txBox="1"/>
          <p:nvPr/>
        </p:nvSpPr>
        <p:spPr>
          <a:xfrm>
            <a:off x="9421760" y="76524"/>
            <a:ext cx="282129" cy="1538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2019</a:t>
            </a:r>
            <a:endParaRPr kumimoji="0" lang="it-IT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79" name="Ovale 278">
            <a:extLst>
              <a:ext uri="{FF2B5EF4-FFF2-40B4-BE49-F238E27FC236}">
                <a16:creationId xmlns="" xmlns:a16="http://schemas.microsoft.com/office/drawing/2014/main" id="{CF9F53DB-5A3B-4442-88FF-49E5F159B4C1}"/>
              </a:ext>
            </a:extLst>
          </p:cNvPr>
          <p:cNvSpPr/>
          <p:nvPr/>
        </p:nvSpPr>
        <p:spPr bwMode="auto">
          <a:xfrm>
            <a:off x="9244905" y="302227"/>
            <a:ext cx="71030" cy="71030"/>
          </a:xfrm>
          <a:prstGeom prst="ellipse">
            <a:avLst/>
          </a:prstGeom>
          <a:solidFill>
            <a:schemeClr val="accent4"/>
          </a:solidFill>
          <a:ln w="3175">
            <a:solidFill>
              <a:schemeClr val="accent4">
                <a:lumMod val="75000"/>
              </a:schemeClr>
            </a:solidFill>
          </a:ln>
          <a:effectLst/>
          <a:extLst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280" name="CasellaDiTesto 279">
            <a:extLst>
              <a:ext uri="{FF2B5EF4-FFF2-40B4-BE49-F238E27FC236}">
                <a16:creationId xmlns="" xmlns:a16="http://schemas.microsoft.com/office/drawing/2014/main" id="{C8EFEA20-F388-425F-8EEA-495B4C7024FD}"/>
              </a:ext>
            </a:extLst>
          </p:cNvPr>
          <p:cNvSpPr txBox="1"/>
          <p:nvPr/>
        </p:nvSpPr>
        <p:spPr>
          <a:xfrm>
            <a:off x="9421760" y="260798"/>
            <a:ext cx="282129" cy="1538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2020</a:t>
            </a:r>
          </a:p>
        </p:txBody>
      </p:sp>
      <p:grpSp>
        <p:nvGrpSpPr>
          <p:cNvPr id="3" name="Gruppo 2"/>
          <p:cNvGrpSpPr/>
          <p:nvPr/>
        </p:nvGrpSpPr>
        <p:grpSpPr>
          <a:xfrm>
            <a:off x="0" y="428604"/>
            <a:ext cx="9906000" cy="5359068"/>
            <a:chOff x="0" y="451942"/>
            <a:chExt cx="9906000" cy="5359068"/>
          </a:xfrm>
        </p:grpSpPr>
        <p:sp>
          <p:nvSpPr>
            <p:cNvPr id="18" name="Rettangolo 17"/>
            <p:cNvSpPr/>
            <p:nvPr/>
          </p:nvSpPr>
          <p:spPr bwMode="auto">
            <a:xfrm>
              <a:off x="0" y="657647"/>
              <a:ext cx="9855200" cy="307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algn="ctr"/>
              <a:endParaRPr lang="it-IT" sz="2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7" name="Rettangolo 10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2143116"/>
              <a:ext cx="1480432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Tor Vergata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Via Ferruccio Ulivi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1" name="Rettangolo 150">
              <a:extLst>
                <a:ext uri="{FF2B5EF4-FFF2-40B4-BE49-F238E27FC236}">
                  <a16:creationId xmlns="" xmlns:a16="http://schemas.microsoft.com/office/drawing/2014/main" id="{F407BDE3-3F88-4575-9A8C-DB7FAED6891B}"/>
                </a:ext>
              </a:extLst>
            </p:cNvPr>
            <p:cNvSpPr/>
            <p:nvPr/>
          </p:nvSpPr>
          <p:spPr bwMode="auto">
            <a:xfrm>
              <a:off x="1368521" y="2643182"/>
              <a:ext cx="211347" cy="161532"/>
            </a:xfrm>
            <a:prstGeom prst="rect">
              <a:avLst/>
            </a:prstGeom>
            <a:solidFill>
              <a:schemeClr val="accent2"/>
            </a:solidFill>
            <a:ln w="9525" cap="flat" cmpd="sng" algn="ctr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42</a:t>
              </a:r>
            </a:p>
          </p:txBody>
        </p:sp>
        <p:sp>
          <p:nvSpPr>
            <p:cNvPr id="302" name="Rettangolo 30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4071942"/>
              <a:ext cx="1480432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LAURENTINO 38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Ponti 5/6 </a:t>
              </a:r>
            </a:p>
          </p:txBody>
        </p:sp>
        <p:sp>
          <p:nvSpPr>
            <p:cNvPr id="366" name="Rettangolo 365">
              <a:extLst>
                <a:ext uri="{FF2B5EF4-FFF2-40B4-BE49-F238E27FC236}">
                  <a16:creationId xmlns="" xmlns:a16="http://schemas.microsoft.com/office/drawing/2014/main" id="{BB9D05FB-6365-4EE5-819F-72B79171C1B9}"/>
                </a:ext>
              </a:extLst>
            </p:cNvPr>
            <p:cNvSpPr/>
            <p:nvPr/>
          </p:nvSpPr>
          <p:spPr bwMode="auto">
            <a:xfrm>
              <a:off x="1368521" y="4572008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70</a:t>
              </a:r>
            </a:p>
          </p:txBody>
        </p:sp>
        <p:sp>
          <p:nvSpPr>
            <p:cNvPr id="574" name="Rettangolo 57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5072074"/>
              <a:ext cx="1480432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TIBURTINO III </a:t>
              </a:r>
            </a:p>
          </p:txBody>
        </p:sp>
        <p:sp>
          <p:nvSpPr>
            <p:cNvPr id="621" name="Rettangolo 620">
              <a:extLst>
                <a:ext uri="{FF2B5EF4-FFF2-40B4-BE49-F238E27FC236}">
                  <a16:creationId xmlns="" xmlns:a16="http://schemas.microsoft.com/office/drawing/2014/main" id="{FF96BC6D-8497-4E38-B7F5-02EC1C7D49C5}"/>
                </a:ext>
              </a:extLst>
            </p:cNvPr>
            <p:cNvSpPr/>
            <p:nvPr/>
          </p:nvSpPr>
          <p:spPr bwMode="auto">
            <a:xfrm>
              <a:off x="1368521" y="5572140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49</a:t>
              </a:r>
            </a:p>
          </p:txBody>
        </p:sp>
        <p:sp>
          <p:nvSpPr>
            <p:cNvPr id="376" name="Rettangolo 37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3143248"/>
              <a:ext cx="1480432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>
                  <a:solidFill>
                    <a:srgbClr val="000000"/>
                  </a:solidFill>
                  <a:latin typeface="Arial"/>
                </a:rPr>
                <a:t>CESANO</a:t>
              </a: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M1-M2-M3-M4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501" name="Rettangolo 500">
              <a:extLst>
                <a:ext uri="{FF2B5EF4-FFF2-40B4-BE49-F238E27FC236}">
                  <a16:creationId xmlns="" xmlns:a16="http://schemas.microsoft.com/office/drawing/2014/main" id="{40700A62-377C-4A74-AAF1-0022B16A4BDB}"/>
                </a:ext>
              </a:extLst>
            </p:cNvPr>
            <p:cNvSpPr/>
            <p:nvPr/>
          </p:nvSpPr>
          <p:spPr bwMode="auto">
            <a:xfrm>
              <a:off x="1368521" y="3643314"/>
              <a:ext cx="211347" cy="161532"/>
            </a:xfrm>
            <a:prstGeom prst="rect">
              <a:avLst/>
            </a:prstGeom>
            <a:solidFill>
              <a:schemeClr val="accent4"/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</a:pPr>
              <a:r>
                <a:rPr lang="it-IT" sz="900" b="1" i="1" dirty="0">
                  <a:solidFill>
                    <a:schemeClr val="bg1"/>
                  </a:solidFill>
                  <a:latin typeface="Arial"/>
                </a:rPr>
                <a:t>118</a:t>
              </a:r>
            </a:p>
          </p:txBody>
        </p:sp>
        <p:sp>
          <p:nvSpPr>
            <p:cNvPr id="11" name="Rettangolo 1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9909" y="1214422"/>
              <a:ext cx="1480432" cy="720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8000" tIns="18000" rIns="18000" bIns="18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0"/>
                </a:spcAft>
                <a:defRPr/>
              </a:pPr>
              <a:r>
                <a:rPr lang="it-IT" sz="1200" b="1" dirty="0" err="1">
                  <a:solidFill>
                    <a:srgbClr val="000000"/>
                  </a:solidFill>
                  <a:latin typeface="Arial"/>
                </a:rPr>
                <a:t>Corviale</a:t>
              </a:r>
              <a:endParaRPr lang="it-IT" sz="1200" b="1" dirty="0">
                <a:solidFill>
                  <a:srgbClr val="000000"/>
                </a:solidFill>
                <a:latin typeface="Arial"/>
              </a:endParaRPr>
            </a:p>
            <a:p>
              <a:pPr eaLnBrk="0" hangingPunct="0">
                <a:spcAft>
                  <a:spcPts val="0"/>
                </a:spcAft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ncorso Internazionale “Rigenerare </a:t>
              </a:r>
              <a:r>
                <a:rPr lang="it-IT" sz="1000" dirty="0" err="1" smtClean="0">
                  <a:solidFill>
                    <a:srgbClr val="000000"/>
                  </a:solidFill>
                  <a:latin typeface="Arial"/>
                </a:rPr>
                <a:t>Corviale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” 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89" name="Rettangolo 78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9436" y="677838"/>
              <a:ext cx="1480432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>
                  <a:solidFill>
                    <a:srgbClr val="FFFFFF"/>
                  </a:solidFill>
                  <a:latin typeface="Arial"/>
                </a:rPr>
                <a:t>Tipologia</a:t>
              </a:r>
            </a:p>
          </p:txBody>
        </p:sp>
        <p:sp>
          <p:nvSpPr>
            <p:cNvPr id="791" name="Rettangolo 79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0" y="677838"/>
              <a:ext cx="1968850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Descrizione 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92" name="Rettangolo 79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3" y="677838"/>
              <a:ext cx="537206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Costo</a:t>
              </a:r>
            </a:p>
            <a:p>
              <a:pPr eaLnBrk="0" hangingPunct="0">
                <a:spcAft>
                  <a:spcPts val="200"/>
                </a:spcAft>
              </a:pPr>
              <a:r>
                <a:rPr lang="it-IT" sz="1000" b="1" dirty="0" smtClean="0">
                  <a:solidFill>
                    <a:srgbClr val="FFFFFF"/>
                  </a:solidFill>
                  <a:latin typeface="Arial"/>
                </a:rPr>
                <a:t>(Mio€)</a:t>
              </a:r>
              <a:endParaRPr lang="it-IT" sz="10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18" name="Rettangolo 81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677838"/>
              <a:ext cx="686939" cy="40651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Durata lavori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0" name="Rettangolo 9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2332115"/>
              <a:ext cx="1968850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letamento  scheletro con FV, ST, miglioramento sismico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1" name="Rettangolo 10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0" y="3286124"/>
              <a:ext cx="2106009" cy="3252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Completamento scheletro con variante </a:t>
              </a:r>
              <a:r>
                <a:rPr lang="it-IT" sz="1000" dirty="0" err="1" smtClean="0">
                  <a:solidFill>
                    <a:srgbClr val="000000"/>
                  </a:solidFill>
                  <a:latin typeface="Arial"/>
                </a:rPr>
                <a:t>urb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 110 + 8 frazionamenti</a:t>
              </a:r>
            </a:p>
          </p:txBody>
        </p:sp>
        <p:sp>
          <p:nvSpPr>
            <p:cNvPr id="105" name="Rettangolo 10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5214950"/>
              <a:ext cx="1968850" cy="3246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 err="1" smtClean="0">
                  <a:solidFill>
                    <a:srgbClr val="000000"/>
                  </a:solidFill>
                  <a:latin typeface="Arial"/>
                </a:rPr>
                <a:t>Densificazione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, già piano casa Piano Pilotis</a:t>
              </a:r>
              <a:endParaRPr lang="it-IT" sz="10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2" name="Rettangolo 11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1612551" y="4260021"/>
              <a:ext cx="1968850" cy="3239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90488" indent="-90488" eaLnBrk="0" hangingPunct="0">
                <a:spcAft>
                  <a:spcPts val="200"/>
                </a:spcAft>
                <a:buFont typeface="Arial" panose="020B0604020202020204" pitchFamily="34" charset="0"/>
                <a:buChar char="•"/>
                <a:defRPr/>
              </a:pPr>
              <a:r>
                <a:rPr lang="it-IT" sz="1000" dirty="0">
                  <a:solidFill>
                    <a:srgbClr val="000000"/>
                  </a:solidFill>
                  <a:latin typeface="Arial"/>
                </a:rPr>
                <a:t>Cambio di destinazione </a:t>
              </a:r>
              <a:r>
                <a:rPr lang="it-IT" sz="1000" dirty="0" smtClean="0">
                  <a:solidFill>
                    <a:srgbClr val="000000"/>
                  </a:solidFill>
                  <a:latin typeface="Arial"/>
                </a:rPr>
                <a:t>d’uso, già Piano Casa</a:t>
              </a:r>
              <a:endParaRPr lang="it-IT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7" name="Rettangolo 11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2334802"/>
              <a:ext cx="531395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6,7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0" name="Rettangolo 11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5309477"/>
              <a:ext cx="531395" cy="3246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7,4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3" name="Rettangolo 12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4165115"/>
              <a:ext cx="531395" cy="3412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7,0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9" name="Rettangolo 12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2308608"/>
              <a:ext cx="686939" cy="3713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,5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0" name="Rettangolo 12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3214686"/>
              <a:ext cx="686939" cy="3252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,5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2" name="Rettangolo 13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5309477"/>
              <a:ext cx="686939" cy="32468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6" name="Rettangolo 13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9079167" y="4143380"/>
              <a:ext cx="686939" cy="32396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2 anni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7" name="Ovale 276">
              <a:extLst>
                <a:ext uri="{FF2B5EF4-FFF2-40B4-BE49-F238E27FC236}">
                  <a16:creationId xmlns="" xmlns:a16="http://schemas.microsoft.com/office/drawing/2014/main" id="{C3C8A05C-F259-4D6D-A06F-7A2180D5F124}"/>
                </a:ext>
              </a:extLst>
            </p:cNvPr>
            <p:cNvSpPr/>
            <p:nvPr/>
          </p:nvSpPr>
          <p:spPr bwMode="auto">
            <a:xfrm>
              <a:off x="9244905" y="493371"/>
              <a:ext cx="71030" cy="71030"/>
            </a:xfrm>
            <a:prstGeom prst="ellipse">
              <a:avLst/>
            </a:prstGeom>
            <a:solidFill>
              <a:schemeClr val="accent6"/>
            </a:solidFill>
            <a:ln w="3175">
              <a:solidFill>
                <a:schemeClr val="accent6">
                  <a:lumMod val="75000"/>
                </a:schemeClr>
              </a:solidFill>
            </a:ln>
            <a:effectLst/>
            <a:extLst/>
          </p:spPr>
          <p:txBody>
            <a:bodyPr wrap="square" lIns="0" tIns="0" rIns="0" bIns="0" rtlCol="0" anchor="ctr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278" name="CasellaDiTesto 277">
              <a:extLst>
                <a:ext uri="{FF2B5EF4-FFF2-40B4-BE49-F238E27FC236}">
                  <a16:creationId xmlns="" xmlns:a16="http://schemas.microsoft.com/office/drawing/2014/main" id="{42003807-F02D-4056-84DA-D30BA2E5FEE0}"/>
                </a:ext>
              </a:extLst>
            </p:cNvPr>
            <p:cNvSpPr txBox="1"/>
            <p:nvPr/>
          </p:nvSpPr>
          <p:spPr>
            <a:xfrm>
              <a:off x="9421760" y="451942"/>
              <a:ext cx="282129" cy="153888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2021</a:t>
              </a:r>
            </a:p>
          </p:txBody>
        </p:sp>
        <p:sp>
          <p:nvSpPr>
            <p:cNvPr id="819" name="Rettangolo 81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85748" y="677838"/>
              <a:ext cx="4869418" cy="21825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Tempistica 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0" name="Rettangolo 81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85748" y="922423"/>
              <a:ext cx="1606385" cy="16192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2019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1" name="Rettangolo 82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817264" y="922423"/>
              <a:ext cx="1606385" cy="16192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2020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2" name="Rettangolo 82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7448780" y="922423"/>
              <a:ext cx="1606385" cy="16192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9525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r>
                <a:rPr lang="it-IT" sz="1200" b="1" dirty="0" smtClean="0">
                  <a:solidFill>
                    <a:srgbClr val="FFFFFF"/>
                  </a:solidFill>
                  <a:latin typeface="Arial"/>
                </a:rPr>
                <a:t>2021</a:t>
              </a:r>
              <a:endParaRPr lang="it-IT" sz="1200" b="1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5" name="Gruppo 18"/>
            <p:cNvGrpSpPr/>
            <p:nvPr/>
          </p:nvGrpSpPr>
          <p:grpSpPr>
            <a:xfrm>
              <a:off x="4164260" y="1129792"/>
              <a:ext cx="4903482" cy="4681218"/>
              <a:chOff x="4616040" y="1129797"/>
              <a:chExt cx="4175813" cy="4665671"/>
            </a:xfrm>
          </p:grpSpPr>
          <p:cxnSp>
            <p:nvCxnSpPr>
              <p:cNvPr id="832" name="Connettore 1 831"/>
              <p:cNvCxnSpPr/>
              <p:nvPr/>
            </p:nvCxnSpPr>
            <p:spPr bwMode="auto">
              <a:xfrm rot="5400000">
                <a:off x="3331562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4" name="Connettore 1 823"/>
              <p:cNvCxnSpPr/>
              <p:nvPr/>
            </p:nvCxnSpPr>
            <p:spPr bwMode="auto">
              <a:xfrm rot="5400000">
                <a:off x="2400227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5" name="Connettore 1 824"/>
              <p:cNvCxnSpPr/>
              <p:nvPr/>
            </p:nvCxnSpPr>
            <p:spPr bwMode="auto">
              <a:xfrm rot="5400000">
                <a:off x="2516643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6" name="Connettore 1 825"/>
              <p:cNvCxnSpPr/>
              <p:nvPr/>
            </p:nvCxnSpPr>
            <p:spPr bwMode="auto">
              <a:xfrm rot="5400000">
                <a:off x="2633061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7" name="Connettore 1 826"/>
              <p:cNvCxnSpPr/>
              <p:nvPr/>
            </p:nvCxnSpPr>
            <p:spPr bwMode="auto">
              <a:xfrm rot="5400000">
                <a:off x="2749477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8" name="Connettore 1 827"/>
              <p:cNvCxnSpPr/>
              <p:nvPr/>
            </p:nvCxnSpPr>
            <p:spPr bwMode="auto">
              <a:xfrm rot="5400000">
                <a:off x="2865895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29" name="Connettore 1 828"/>
              <p:cNvCxnSpPr/>
              <p:nvPr/>
            </p:nvCxnSpPr>
            <p:spPr bwMode="auto">
              <a:xfrm rot="5400000">
                <a:off x="2982310" y="3463236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0" name="Connettore 1 829"/>
              <p:cNvCxnSpPr/>
              <p:nvPr/>
            </p:nvCxnSpPr>
            <p:spPr bwMode="auto">
              <a:xfrm rot="5400000">
                <a:off x="3098728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1" name="Connettore 1 830"/>
              <p:cNvCxnSpPr/>
              <p:nvPr/>
            </p:nvCxnSpPr>
            <p:spPr bwMode="auto">
              <a:xfrm rot="5400000">
                <a:off x="3215146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3" name="Connettore 1 832"/>
              <p:cNvCxnSpPr/>
              <p:nvPr/>
            </p:nvCxnSpPr>
            <p:spPr bwMode="auto">
              <a:xfrm rot="5400000">
                <a:off x="3447980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4" name="Connettore 1 833"/>
              <p:cNvCxnSpPr/>
              <p:nvPr/>
            </p:nvCxnSpPr>
            <p:spPr bwMode="auto">
              <a:xfrm rot="5400000">
                <a:off x="3564397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5" name="Connettore 1 834"/>
              <p:cNvCxnSpPr/>
              <p:nvPr/>
            </p:nvCxnSpPr>
            <p:spPr bwMode="auto">
              <a:xfrm rot="5400000">
                <a:off x="3680809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39" name="Connettore 1 838"/>
              <p:cNvCxnSpPr/>
              <p:nvPr/>
            </p:nvCxnSpPr>
            <p:spPr bwMode="auto">
              <a:xfrm rot="5400000">
                <a:off x="3796314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1" name="Connettore 1 840"/>
              <p:cNvCxnSpPr/>
              <p:nvPr/>
            </p:nvCxnSpPr>
            <p:spPr bwMode="auto">
              <a:xfrm rot="5400000">
                <a:off x="4027322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2" name="Connettore 1 841"/>
              <p:cNvCxnSpPr/>
              <p:nvPr/>
            </p:nvCxnSpPr>
            <p:spPr bwMode="auto">
              <a:xfrm rot="5400000">
                <a:off x="4142826" y="3462026"/>
                <a:ext cx="4664458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4" name="Connettore 1 843"/>
              <p:cNvCxnSpPr/>
              <p:nvPr/>
            </p:nvCxnSpPr>
            <p:spPr bwMode="auto">
              <a:xfrm rot="5400000">
                <a:off x="4373833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5" name="Connettore 1 844"/>
              <p:cNvCxnSpPr/>
              <p:nvPr/>
            </p:nvCxnSpPr>
            <p:spPr bwMode="auto">
              <a:xfrm rot="5400000">
                <a:off x="4489338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6" name="Connettore 1 845"/>
              <p:cNvCxnSpPr/>
              <p:nvPr/>
            </p:nvCxnSpPr>
            <p:spPr bwMode="auto">
              <a:xfrm rot="5400000">
                <a:off x="4604841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7" name="Connettore 1 846"/>
              <p:cNvCxnSpPr/>
              <p:nvPr/>
            </p:nvCxnSpPr>
            <p:spPr bwMode="auto">
              <a:xfrm rot="5400000">
                <a:off x="4720346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8" name="Connettore 1 847"/>
              <p:cNvCxnSpPr/>
              <p:nvPr/>
            </p:nvCxnSpPr>
            <p:spPr bwMode="auto">
              <a:xfrm rot="5400000">
                <a:off x="4835849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9" name="Connettore 1 848"/>
              <p:cNvCxnSpPr/>
              <p:nvPr/>
            </p:nvCxnSpPr>
            <p:spPr bwMode="auto">
              <a:xfrm rot="5400000">
                <a:off x="4951354" y="3463239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50" name="Connettore 1 849"/>
              <p:cNvCxnSpPr/>
              <p:nvPr/>
            </p:nvCxnSpPr>
            <p:spPr bwMode="auto">
              <a:xfrm rot="5400000">
                <a:off x="5066857" y="3463239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5" name="Connettore 1 864"/>
              <p:cNvCxnSpPr/>
              <p:nvPr/>
            </p:nvCxnSpPr>
            <p:spPr bwMode="auto">
              <a:xfrm rot="5400000">
                <a:off x="2283810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7" name="Connettore 1 866"/>
              <p:cNvCxnSpPr/>
              <p:nvPr/>
            </p:nvCxnSpPr>
            <p:spPr bwMode="auto">
              <a:xfrm rot="5400000">
                <a:off x="5182921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8" name="Connettore 1 867"/>
              <p:cNvCxnSpPr/>
              <p:nvPr/>
            </p:nvCxnSpPr>
            <p:spPr bwMode="auto">
              <a:xfrm rot="5400000">
                <a:off x="5298985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69" name="Connettore 1 868"/>
              <p:cNvCxnSpPr/>
              <p:nvPr/>
            </p:nvCxnSpPr>
            <p:spPr bwMode="auto">
              <a:xfrm rot="5400000">
                <a:off x="5415049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0" name="Connettore 1 869"/>
              <p:cNvCxnSpPr/>
              <p:nvPr/>
            </p:nvCxnSpPr>
            <p:spPr bwMode="auto">
              <a:xfrm rot="5400000">
                <a:off x="5531114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1" name="Connettore 1 870"/>
              <p:cNvCxnSpPr/>
              <p:nvPr/>
            </p:nvCxnSpPr>
            <p:spPr bwMode="auto">
              <a:xfrm rot="5400000">
                <a:off x="5647178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2" name="Connettore 1 871"/>
              <p:cNvCxnSpPr/>
              <p:nvPr/>
            </p:nvCxnSpPr>
            <p:spPr bwMode="auto">
              <a:xfrm rot="5400000">
                <a:off x="5763242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3" name="Connettore 1 872"/>
              <p:cNvCxnSpPr/>
              <p:nvPr/>
            </p:nvCxnSpPr>
            <p:spPr bwMode="auto">
              <a:xfrm rot="5400000">
                <a:off x="5879306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4" name="Connettore 1 873"/>
              <p:cNvCxnSpPr/>
              <p:nvPr/>
            </p:nvCxnSpPr>
            <p:spPr bwMode="auto">
              <a:xfrm rot="5400000">
                <a:off x="5995369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5" name="Connettore 1 874"/>
              <p:cNvCxnSpPr/>
              <p:nvPr/>
            </p:nvCxnSpPr>
            <p:spPr bwMode="auto">
              <a:xfrm rot="5400000">
                <a:off x="6111433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6" name="Connettore 1 875"/>
              <p:cNvCxnSpPr/>
              <p:nvPr/>
            </p:nvCxnSpPr>
            <p:spPr bwMode="auto">
              <a:xfrm rot="5400000">
                <a:off x="6227497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7" name="Connettore 1 876"/>
              <p:cNvCxnSpPr/>
              <p:nvPr/>
            </p:nvCxnSpPr>
            <p:spPr bwMode="auto">
              <a:xfrm rot="5400000">
                <a:off x="6343561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78" name="Connettore 1 877"/>
              <p:cNvCxnSpPr/>
              <p:nvPr/>
            </p:nvCxnSpPr>
            <p:spPr bwMode="auto">
              <a:xfrm rot="5400000">
                <a:off x="6459624" y="3463240"/>
                <a:ext cx="4664457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0" name="Connettore 1 839"/>
              <p:cNvCxnSpPr/>
              <p:nvPr/>
            </p:nvCxnSpPr>
            <p:spPr bwMode="auto">
              <a:xfrm rot="5400000">
                <a:off x="3911817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75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  <p:cxnSp>
            <p:nvCxnSpPr>
              <p:cNvPr id="843" name="Connettore 1 842"/>
              <p:cNvCxnSpPr/>
              <p:nvPr/>
            </p:nvCxnSpPr>
            <p:spPr bwMode="auto">
              <a:xfrm rot="5400000">
                <a:off x="4258330" y="3463237"/>
                <a:ext cx="4664459" cy="0"/>
              </a:xfrm>
              <a:prstGeom prst="lin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accent1">
                    <a:lumMod val="60000"/>
                    <a:lumOff val="40000"/>
                  </a:schemeClr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</p:cxnSp>
        </p:grpSp>
        <p:sp>
          <p:nvSpPr>
            <p:cNvPr id="172" name="Rettangolo 17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500286" y="2438429"/>
              <a:ext cx="3967875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5" name="Rettangolo 17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73872" y="2546226"/>
              <a:ext cx="671178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esec.va conclusa</a:t>
              </a:r>
            </a:p>
          </p:txBody>
        </p:sp>
        <p:sp>
          <p:nvSpPr>
            <p:cNvPr id="180" name="Rettangolo 17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864894" y="2714417"/>
              <a:ext cx="334752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Verifica</a:t>
              </a:r>
            </a:p>
          </p:txBody>
        </p:sp>
        <p:sp>
          <p:nvSpPr>
            <p:cNvPr id="183" name="Rettangolo 18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60044" y="3332565"/>
              <a:ext cx="490769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85" name="Rettangolo 18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083360" y="3442591"/>
              <a:ext cx="698066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 approvat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88" name="Rettangolo 18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093036" y="3442591"/>
              <a:ext cx="718145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.ne esecutiv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1" name="Rettangolo 24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5334322"/>
              <a:ext cx="491604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50" name="Rettangolo 24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721366" y="5321264"/>
              <a:ext cx="2346373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3" name="Rettangolo 26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51694" y="4292592"/>
              <a:ext cx="4916047" cy="1080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7" name="Rettangolo 26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376429" y="4399974"/>
              <a:ext cx="780412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Progettazione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esecutiva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70" name="Rettangolo 26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721366" y="4286256"/>
              <a:ext cx="2346373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2" name="Rettangolo 28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879431" y="3316886"/>
              <a:ext cx="2186784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84" name="Rettangolo 28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920398" y="3442591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286" name="Rettangolo 28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648499" y="3442591"/>
              <a:ext cx="467122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lavori</a:t>
              </a:r>
            </a:p>
          </p:txBody>
        </p:sp>
        <p:sp>
          <p:nvSpPr>
            <p:cNvPr id="288" name="Rettangolo 28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36031" y="2332115"/>
              <a:ext cx="919388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Nulla osta genio civile</a:t>
              </a:r>
            </a:p>
          </p:txBody>
        </p:sp>
        <p:sp>
          <p:nvSpPr>
            <p:cNvPr id="290" name="Rettangolo 28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389025" y="2332115"/>
              <a:ext cx="425988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293" name="Rettangolo 29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001591" y="2428868"/>
              <a:ext cx="2458116" cy="10800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2" name="Rettangolo 29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767346" y="2546226"/>
              <a:ext cx="488199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lavori</a:t>
              </a:r>
            </a:p>
          </p:txBody>
        </p:sp>
        <p:sp>
          <p:nvSpPr>
            <p:cNvPr id="307" name="Rombo 30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566802" y="2443122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8" name="Rombo 30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975680" y="242886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09" name="Rombo 30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752115" y="2431216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0" name="Rombo 30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949759" y="2431216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1" name="Rombo 31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463984" y="2428868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2" name="Rettangolo 31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526348" y="2380382"/>
              <a:ext cx="407163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  <a:defRPr/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Consegn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lloggi</a:t>
              </a:r>
              <a:endParaRPr lang="it-IT" sz="7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3" name="Rombo 31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8408528" y="2409744"/>
              <a:ext cx="108000" cy="162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4" name="Rombo 31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129658" y="3325461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8" name="Rettangolo 11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3617272" y="3286124"/>
              <a:ext cx="531395" cy="325217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>
                <a:spcAft>
                  <a:spcPts val="200"/>
                </a:spcAft>
                <a:defRPr/>
              </a:pPr>
              <a:r>
                <a:rPr lang="it-IT" sz="1100" dirty="0" smtClean="0">
                  <a:solidFill>
                    <a:srgbClr val="000000"/>
                  </a:solidFill>
                  <a:latin typeface="Arial"/>
                </a:rPr>
                <a:t>14,3</a:t>
              </a:r>
              <a:endParaRPr lang="it-IT" sz="1100" b="1" dirty="0" smtClea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5" name="Rombo 31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426308" y="334114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6" name="Rombo 31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133540" y="3341140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17" name="Rombo 31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843598" y="3325461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4" name="Rettangolo 32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45186" y="5438394"/>
              <a:ext cx="707370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a aggiornare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5" name="Rombo 32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650358" y="5334322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6" name="Rettangolo 325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128917" y="5438394"/>
              <a:ext cx="1023614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esecutiva</a:t>
              </a:r>
            </a:p>
          </p:txBody>
        </p:sp>
        <p:sp>
          <p:nvSpPr>
            <p:cNvPr id="327" name="Rombo 32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621908" y="5334322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28" name="Rettangolo 327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048986" y="5438394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29" name="Rettangolo 32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500416" y="5438394"/>
              <a:ext cx="467122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30" name="Rombo 32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262128" y="5334322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1" name="Rombo 330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695515" y="5321264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9" name="Rombo 368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682108" y="4321132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0" name="Rombo 369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5745733" y="4286256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2" name="Rombo 371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260083" y="4286256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4" name="Rettangolo 373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4364236" y="4429132"/>
              <a:ext cx="707370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Prog.ne </a:t>
              </a: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ef.va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da aggiornare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3" name="Rombo 372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682358" y="4286256"/>
              <a:ext cx="74110" cy="108000"/>
            </a:xfrm>
            <a:prstGeom prst="diamond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>
                <a:spcAft>
                  <a:spcPts val="200"/>
                </a:spcAft>
              </a:pPr>
              <a:endParaRPr lang="it-IT" sz="800" b="1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5" name="Rettangolo 374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087086" y="4399974"/>
              <a:ext cx="470406" cy="10259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>
                  <a:solidFill>
                    <a:srgbClr val="000000"/>
                  </a:solidFill>
                  <a:latin typeface="Arial"/>
                </a:rPr>
                <a:t>Avvio gare</a:t>
              </a:r>
            </a:p>
          </p:txBody>
        </p:sp>
        <p:sp>
          <p:nvSpPr>
            <p:cNvPr id="377" name="Rettangolo 376">
              <a:extLst>
                <a:ext uri="{FF2B5EF4-FFF2-40B4-BE49-F238E27FC236}">
                  <a16:creationId xmlns="" xmlns:a16="http://schemas.microsoft.com/office/drawing/2014/main" id="{CC8731E4-E6B6-467D-9B7B-35A7DBBE8DBF}"/>
                </a:ext>
              </a:extLst>
            </p:cNvPr>
            <p:cNvSpPr/>
            <p:nvPr/>
          </p:nvSpPr>
          <p:spPr bwMode="auto">
            <a:xfrm>
              <a:off x="6518613" y="4509700"/>
              <a:ext cx="428288" cy="205184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eaLnBrk="0" hangingPunct="0">
                <a:lnSpc>
                  <a:spcPts val="800"/>
                </a:lnSpc>
                <a:spcAft>
                  <a:spcPts val="200"/>
                </a:spcAft>
              </a:pP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Avvio</a:t>
              </a:r>
              <a:br>
                <a:rPr lang="it-IT" sz="700" dirty="0" smtClean="0">
                  <a:solidFill>
                    <a:srgbClr val="000000"/>
                  </a:solidFill>
                  <a:latin typeface="Arial"/>
                </a:rPr>
              </a:br>
              <a:r>
                <a:rPr lang="it-IT" sz="700" dirty="0" smtClean="0">
                  <a:solidFill>
                    <a:srgbClr val="000000"/>
                  </a:solidFill>
                  <a:latin typeface="Arial"/>
                </a:rPr>
                <a:t>lavori</a:t>
              </a:r>
              <a:endParaRPr lang="it-IT" sz="700" dirty="0">
                <a:solidFill>
                  <a:srgbClr val="000000"/>
                </a:solidFill>
                <a:latin typeface="Arial"/>
              </a:endParaRPr>
            </a:p>
          </p:txBody>
        </p:sp>
        <p:cxnSp>
          <p:nvCxnSpPr>
            <p:cNvPr id="810" name="Connettore 1 809"/>
            <p:cNvCxnSpPr/>
            <p:nvPr/>
          </p:nvCxnSpPr>
          <p:spPr bwMode="auto">
            <a:xfrm>
              <a:off x="1600200" y="2071678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1" name="Connettore 1 810"/>
            <p:cNvCxnSpPr/>
            <p:nvPr/>
          </p:nvCxnSpPr>
          <p:spPr bwMode="auto">
            <a:xfrm>
              <a:off x="1651000" y="3000372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4" name="Connettore 1 813"/>
            <p:cNvCxnSpPr/>
            <p:nvPr/>
          </p:nvCxnSpPr>
          <p:spPr bwMode="auto">
            <a:xfrm>
              <a:off x="1600200" y="4000504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816" name="Connettore 1 815"/>
            <p:cNvCxnSpPr/>
            <p:nvPr/>
          </p:nvCxnSpPr>
          <p:spPr bwMode="auto">
            <a:xfrm>
              <a:off x="1600200" y="4929198"/>
              <a:ext cx="8255000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dash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347" name="Rettangolo 346">
            <a:extLst>
              <a:ext uri="{FF2B5EF4-FFF2-40B4-BE49-F238E27FC236}">
                <a16:creationId xmlns="" xmlns:a16="http://schemas.microsoft.com/office/drawing/2014/main" id="{CC8731E4-E6B6-467D-9B7B-35A7DBBE8DBF}"/>
              </a:ext>
            </a:extLst>
          </p:cNvPr>
          <p:cNvSpPr/>
          <p:nvPr/>
        </p:nvSpPr>
        <p:spPr bwMode="auto">
          <a:xfrm>
            <a:off x="3595678" y="1428736"/>
            <a:ext cx="531395" cy="37136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Aft>
                <a:spcPts val="200"/>
              </a:spcAft>
              <a:defRPr/>
            </a:pPr>
            <a:r>
              <a:rPr lang="it-IT" sz="1100" dirty="0" smtClean="0">
                <a:solidFill>
                  <a:srgbClr val="000000"/>
                </a:solidFill>
                <a:latin typeface="Arial"/>
              </a:rPr>
              <a:t>11,3</a:t>
            </a:r>
          </a:p>
        </p:txBody>
      </p:sp>
    </p:spTree>
    <p:extLst>
      <p:ext uri="{BB962C8B-B14F-4D97-AF65-F5344CB8AC3E}">
        <p14:creationId xmlns:p14="http://schemas.microsoft.com/office/powerpoint/2010/main" val="2371266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4.69532790000000055386E+00&quot;&gt;&lt;m_msothmcolidx val=&quot;0&quot;/&gt;&lt;m_rgb r=&quot;A9&quot; g=&quot;BA&quot; b=&quot;45&quot;/&gt;&lt;m_nBrightness tagver0=&quot;26206&quot; tagname0=&quot;m_nBrightnessUNRECOGNIZED&quot; val=&quot;0&quot;/&gt;&lt;/elem&gt;&lt;elem m_fUsage=&quot;1.43046721000000021107E+00&quot;&gt;&lt;m_msothmcolidx val=&quot;0&quot;/&gt;&lt;m_rgb r=&quot;25&quot; g=&quot;3A&quot; b=&quot;FA&quot;/&gt;&lt;m_nBrightness tagver0=&quot;26206&quot; tagname0=&quot;m_nBrightnessUNRECOGNIZED&quot; val=&quot;0&quot;/&gt;&lt;/elem&gt;&lt;elem m_fUsage=&quot;3.87420489000000145552E-01&quot;&gt;&lt;m_msothmcolidx val=&quot;0&quot;/&gt;&lt;m_rgb r=&quot;07&quot; g=&quot;18&quot; b=&quot;ED&quot;/&gt;&lt;m_nBrightness tagver0=&quot;26206&quot; tagname0=&quot;m_nBrightnessUNRECOGNIZED&quot; val=&quot;0&quot;/&gt;&lt;/elem&gt;&lt;/m_vecMRU&gt;&lt;/m_mruColor&gt;&lt;m_eweekdayFirstOfWeek val=&quot;5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UVjmZ9Tf22dTuzygP.Ew"/>
</p:tagLst>
</file>

<file path=ppt/theme/theme1.xml><?xml version="1.0" encoding="utf-8"?>
<a:theme xmlns:a="http://schemas.openxmlformats.org/drawingml/2006/main" name="27_Training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alizzato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square" lIns="0" tIns="0" rIns="0" bIns="0">
        <a:spAutoFit/>
      </a:bodyPr>
      <a:lstStyle>
        <a:defPPr>
          <a:defRPr sz="2400" b="1" dirty="0" smtClean="0">
            <a:solidFill>
              <a:schemeClr val="bg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2075" tIns="46038" rIns="92075" bIns="46038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Training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CCFF"/>
        </a:accent1>
        <a:accent2>
          <a:srgbClr val="FFFF00"/>
        </a:accent2>
        <a:accent3>
          <a:srgbClr val="AAAAFF"/>
        </a:accent3>
        <a:accent4>
          <a:srgbClr val="DADADA"/>
        </a:accent4>
        <a:accent5>
          <a:srgbClr val="AAE2FF"/>
        </a:accent5>
        <a:accent6>
          <a:srgbClr val="E7E700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raining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00CCCC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00B9B9"/>
        </a:accent6>
        <a:hlink>
          <a:srgbClr val="CC99FF"/>
        </a:hlink>
        <a:folHlink>
          <a:srgbClr val="66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raining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8787"/>
        </a:accent6>
        <a:hlink>
          <a:srgbClr val="5F5F5F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raining 4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FFFF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E7E700"/>
        </a:accent6>
        <a:hlink>
          <a:srgbClr val="CC0000"/>
        </a:hlink>
        <a:folHlink>
          <a:srgbClr val="CC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7_Training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CCFF"/>
        </a:accent1>
        <a:accent2>
          <a:srgbClr val="FFFF00"/>
        </a:accent2>
        <a:accent3>
          <a:srgbClr val="AAAAFF"/>
        </a:accent3>
        <a:accent4>
          <a:srgbClr val="DADADA"/>
        </a:accent4>
        <a:accent5>
          <a:srgbClr val="AAE2FF"/>
        </a:accent5>
        <a:accent6>
          <a:srgbClr val="E7E700"/>
        </a:accent6>
        <a:hlink>
          <a:srgbClr val="FF0033"/>
        </a:hlink>
        <a:folHlink>
          <a:srgbClr val="3366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7_Training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00CCCC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00B9B9"/>
        </a:accent6>
        <a:hlink>
          <a:srgbClr val="CC99FF"/>
        </a:hlink>
        <a:folHlink>
          <a:srgbClr val="66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Training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78787"/>
        </a:accent6>
        <a:hlink>
          <a:srgbClr val="5F5F5F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Training 4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FFFF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E7E700"/>
        </a:accent6>
        <a:hlink>
          <a:srgbClr val="CC0000"/>
        </a:hlink>
        <a:folHlink>
          <a:srgbClr val="CC66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7_Training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EC5EA"/>
        </a:accent1>
        <a:accent2>
          <a:srgbClr val="697ACD"/>
        </a:accent2>
        <a:accent3>
          <a:srgbClr val="FFFFFF"/>
        </a:accent3>
        <a:accent4>
          <a:srgbClr val="000000"/>
        </a:accent4>
        <a:accent5>
          <a:srgbClr val="DBDFF3"/>
        </a:accent5>
        <a:accent6>
          <a:srgbClr val="5E6EBA"/>
        </a:accent6>
        <a:hlink>
          <a:srgbClr val="3F54BF"/>
        </a:hlink>
        <a:folHlink>
          <a:srgbClr val="3041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ase MISE" id="{D6E86AD4-97BD-4F5D-B2A1-15C5AAD53B21}" vid="{5DD225E3-D0C9-4A7A-B83C-556B5B9AF8B5}"/>
    </a:ext>
  </a:extLst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ormat Value Partners Italiano</Template>
  <TotalTime>0</TotalTime>
  <Words>776</Words>
  <Application>Microsoft Office PowerPoint</Application>
  <PresentationFormat>A4 (21x29,7 cm)</PresentationFormat>
  <Paragraphs>280</Paragraphs>
  <Slides>5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5</vt:i4>
      </vt:variant>
    </vt:vector>
  </HeadingPairs>
  <TitlesOfParts>
    <vt:vector size="14" baseType="lpstr">
      <vt:lpstr>ＭＳ Ｐゴシック</vt:lpstr>
      <vt:lpstr>ＭＳ Ｐゴシック</vt:lpstr>
      <vt:lpstr>Arial</vt:lpstr>
      <vt:lpstr>Calibri</vt:lpstr>
      <vt:lpstr>Times New Roman</vt:lpstr>
      <vt:lpstr>Verdana</vt:lpstr>
      <vt:lpstr>27_Training</vt:lpstr>
      <vt:lpstr>think-cell Slide</vt:lpstr>
      <vt:lpstr>Diapositiva think-cell</vt:lpstr>
      <vt:lpstr>Convenzione INVITALIA – ATER Roma:  attivazione di Invitalia come centrale di Committenza</vt:lpstr>
      <vt:lpstr>Un piano di lavori ambizioso che coinvolge tutta la città</vt:lpstr>
      <vt:lpstr>…con tempi serrati</vt:lpstr>
      <vt:lpstr>Perché Invitalia?</vt:lpstr>
      <vt:lpstr>Piano triennale sui nuovi alloggi: progetti concreti totalmente finanziati e monitorati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9-26T08:15:02Z</dcterms:created>
  <dcterms:modified xsi:type="dcterms:W3CDTF">2019-09-26T08:15:08Z</dcterms:modified>
</cp:coreProperties>
</file>